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2"/>
  </p:notesMasterIdLst>
  <p:sldIdLst>
    <p:sldId id="350" r:id="rId2"/>
    <p:sldId id="1099" r:id="rId3"/>
    <p:sldId id="1249" r:id="rId4"/>
    <p:sldId id="1234" r:id="rId5"/>
    <p:sldId id="1250" r:id="rId6"/>
    <p:sldId id="1235" r:id="rId7"/>
    <p:sldId id="1253" r:id="rId8"/>
    <p:sldId id="1254" r:id="rId9"/>
    <p:sldId id="1255" r:id="rId10"/>
    <p:sldId id="1231" r:id="rId11"/>
    <p:sldId id="1257" r:id="rId12"/>
    <p:sldId id="1259" r:id="rId13"/>
    <p:sldId id="1258" r:id="rId14"/>
    <p:sldId id="1260" r:id="rId15"/>
    <p:sldId id="1261" r:id="rId16"/>
    <p:sldId id="1100" r:id="rId17"/>
    <p:sldId id="1262" r:id="rId18"/>
    <p:sldId id="1076" r:id="rId19"/>
    <p:sldId id="396" r:id="rId20"/>
    <p:sldId id="1256" r:id="rId21"/>
  </p:sldIdLst>
  <p:sldSz cx="9144000" cy="5143500" type="screen16x9"/>
  <p:notesSz cx="6797675" cy="9926638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316D269-D15A-4153-A313-9E53A15D190E}" v="2612" dt="2023-01-20T07:18:53.8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912" autoAdjust="0"/>
  </p:normalViewPr>
  <p:slideViewPr>
    <p:cSldViewPr snapToObjects="1">
      <p:cViewPr varScale="1">
        <p:scale>
          <a:sx n="52" d="100"/>
          <a:sy n="52" d="100"/>
        </p:scale>
        <p:origin x="52" y="3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8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ina Ru" userId="a298bcda0a73aae4" providerId="LiveId" clId="{6316D269-D15A-4153-A313-9E53A15D190E}"/>
    <pc:docChg chg="undo redo custSel addSld delSld modSld sldOrd">
      <pc:chgData name="Stina Ru" userId="a298bcda0a73aae4" providerId="LiveId" clId="{6316D269-D15A-4153-A313-9E53A15D190E}" dt="2023-01-20T07:18:53.842" v="13505" actId="20577"/>
      <pc:docMkLst>
        <pc:docMk/>
      </pc:docMkLst>
      <pc:sldChg chg="modSp mod">
        <pc:chgData name="Stina Ru" userId="a298bcda0a73aae4" providerId="LiveId" clId="{6316D269-D15A-4153-A313-9E53A15D190E}" dt="2023-01-16T22:08:27.532" v="12026" actId="20577"/>
        <pc:sldMkLst>
          <pc:docMk/>
          <pc:sldMk cId="2456413679" sldId="396"/>
        </pc:sldMkLst>
        <pc:spChg chg="mod">
          <ac:chgData name="Stina Ru" userId="a298bcda0a73aae4" providerId="LiveId" clId="{6316D269-D15A-4153-A313-9E53A15D190E}" dt="2023-01-16T22:08:27.532" v="12026" actId="20577"/>
          <ac:spMkLst>
            <pc:docMk/>
            <pc:sldMk cId="2456413679" sldId="396"/>
            <ac:spMk id="9" creationId="{28CD78BF-FD21-4273-AC08-8CC747F9071D}"/>
          </ac:spMkLst>
        </pc:spChg>
      </pc:sldChg>
      <pc:sldChg chg="modSp mod">
        <pc:chgData name="Stina Ru" userId="a298bcda0a73aae4" providerId="LiveId" clId="{6316D269-D15A-4153-A313-9E53A15D190E}" dt="2023-01-18T09:14:44.749" v="12732" actId="113"/>
        <pc:sldMkLst>
          <pc:docMk/>
          <pc:sldMk cId="504956703" sldId="1076"/>
        </pc:sldMkLst>
        <pc:spChg chg="mod">
          <ac:chgData name="Stina Ru" userId="a298bcda0a73aae4" providerId="LiveId" clId="{6316D269-D15A-4153-A313-9E53A15D190E}" dt="2023-01-16T22:07:44.389" v="11994" actId="20577"/>
          <ac:spMkLst>
            <pc:docMk/>
            <pc:sldMk cId="504956703" sldId="1076"/>
            <ac:spMk id="2" creationId="{2E8E55A0-73B3-4565-BA58-ACE5F64229D6}"/>
          </ac:spMkLst>
        </pc:spChg>
        <pc:spChg chg="mod">
          <ac:chgData name="Stina Ru" userId="a298bcda0a73aae4" providerId="LiveId" clId="{6316D269-D15A-4153-A313-9E53A15D190E}" dt="2023-01-18T09:14:44.749" v="12732" actId="113"/>
          <ac:spMkLst>
            <pc:docMk/>
            <pc:sldMk cId="504956703" sldId="1076"/>
            <ac:spMk id="3" creationId="{62E373E2-E479-4B85-B011-875D0EA60F4A}"/>
          </ac:spMkLst>
        </pc:spChg>
      </pc:sldChg>
      <pc:sldChg chg="modSp mod">
        <pc:chgData name="Stina Ru" userId="a298bcda0a73aae4" providerId="LiveId" clId="{6316D269-D15A-4153-A313-9E53A15D190E}" dt="2023-01-18T09:18:14.375" v="12778" actId="20577"/>
        <pc:sldMkLst>
          <pc:docMk/>
          <pc:sldMk cId="3022998504" sldId="1099"/>
        </pc:sldMkLst>
        <pc:spChg chg="mod">
          <ac:chgData name="Stina Ru" userId="a298bcda0a73aae4" providerId="LiveId" clId="{6316D269-D15A-4153-A313-9E53A15D190E}" dt="2023-01-18T09:18:14.375" v="12778" actId="20577"/>
          <ac:spMkLst>
            <pc:docMk/>
            <pc:sldMk cId="3022998504" sldId="1099"/>
            <ac:spMk id="3" creationId="{62E373E2-E479-4B85-B011-875D0EA60F4A}"/>
          </ac:spMkLst>
        </pc:spChg>
        <pc:spChg chg="mod">
          <ac:chgData name="Stina Ru" userId="a298bcda0a73aae4" providerId="LiveId" clId="{6316D269-D15A-4153-A313-9E53A15D190E}" dt="2023-01-18T08:18:50.793" v="12053" actId="1076"/>
          <ac:spMkLst>
            <pc:docMk/>
            <pc:sldMk cId="3022998504" sldId="1099"/>
            <ac:spMk id="6" creationId="{4354973A-0B3E-EA10-ACE8-6FCA69852F87}"/>
          </ac:spMkLst>
        </pc:spChg>
      </pc:sldChg>
      <pc:sldChg chg="modSp add modAnim">
        <pc:chgData name="Stina Ru" userId="a298bcda0a73aae4" providerId="LiveId" clId="{6316D269-D15A-4153-A313-9E53A15D190E}" dt="2023-01-18T09:45:01.684" v="13356" actId="20577"/>
        <pc:sldMkLst>
          <pc:docMk/>
          <pc:sldMk cId="767307316" sldId="1100"/>
        </pc:sldMkLst>
        <pc:spChg chg="mod">
          <ac:chgData name="Stina Ru" userId="a298bcda0a73aae4" providerId="LiveId" clId="{6316D269-D15A-4153-A313-9E53A15D190E}" dt="2023-01-18T09:45:01.684" v="13356" actId="20577"/>
          <ac:spMkLst>
            <pc:docMk/>
            <pc:sldMk cId="767307316" sldId="1100"/>
            <ac:spMk id="7" creationId="{9149A9D2-823C-2959-6654-07D87DE3C271}"/>
          </ac:spMkLst>
        </pc:spChg>
      </pc:sldChg>
      <pc:sldChg chg="add del">
        <pc:chgData name="Stina Ru" userId="a298bcda0a73aae4" providerId="LiveId" clId="{6316D269-D15A-4153-A313-9E53A15D190E}" dt="2023-01-18T09:45:16.634" v="13359" actId="47"/>
        <pc:sldMkLst>
          <pc:docMk/>
          <pc:sldMk cId="3738000121" sldId="1113"/>
        </pc:sldMkLst>
      </pc:sldChg>
      <pc:sldChg chg="addSp modSp del mod modAnim">
        <pc:chgData name="Stina Ru" userId="a298bcda0a73aae4" providerId="LiveId" clId="{6316D269-D15A-4153-A313-9E53A15D190E}" dt="2023-01-20T07:16:34.315" v="13490" actId="47"/>
        <pc:sldMkLst>
          <pc:docMk/>
          <pc:sldMk cId="2128778417" sldId="1116"/>
        </pc:sldMkLst>
        <pc:spChg chg="add mod">
          <ac:chgData name="Stina Ru" userId="a298bcda0a73aae4" providerId="LiveId" clId="{6316D269-D15A-4153-A313-9E53A15D190E}" dt="2023-01-18T09:16:20.324" v="12747" actId="1076"/>
          <ac:spMkLst>
            <pc:docMk/>
            <pc:sldMk cId="2128778417" sldId="1116"/>
            <ac:spMk id="7" creationId="{FDEBA630-E86F-7E57-AF3A-7B6F4C85B397}"/>
          </ac:spMkLst>
        </pc:spChg>
        <pc:spChg chg="add mod">
          <ac:chgData name="Stina Ru" userId="a298bcda0a73aae4" providerId="LiveId" clId="{6316D269-D15A-4153-A313-9E53A15D190E}" dt="2023-01-18T09:16:59.573" v="12760" actId="1076"/>
          <ac:spMkLst>
            <pc:docMk/>
            <pc:sldMk cId="2128778417" sldId="1116"/>
            <ac:spMk id="8" creationId="{072CDBA6-D43A-1774-C5C3-C4C949EF7B45}"/>
          </ac:spMkLst>
        </pc:spChg>
        <pc:spChg chg="add mod">
          <ac:chgData name="Stina Ru" userId="a298bcda0a73aae4" providerId="LiveId" clId="{6316D269-D15A-4153-A313-9E53A15D190E}" dt="2023-01-18T09:17:29.692" v="12771" actId="1076"/>
          <ac:spMkLst>
            <pc:docMk/>
            <pc:sldMk cId="2128778417" sldId="1116"/>
            <ac:spMk id="9" creationId="{A9507AFF-D80F-1C7E-E514-92914E8EF137}"/>
          </ac:spMkLst>
        </pc:spChg>
        <pc:graphicFrameChg chg="mod modGraphic">
          <ac:chgData name="Stina Ru" userId="a298bcda0a73aae4" providerId="LiveId" clId="{6316D269-D15A-4153-A313-9E53A15D190E}" dt="2023-01-18T09:17:25.232" v="12770" actId="20577"/>
          <ac:graphicFrameMkLst>
            <pc:docMk/>
            <pc:sldMk cId="2128778417" sldId="1116"/>
            <ac:graphicFrameMk id="6" creationId="{FA0CF86D-9D6C-634B-772D-1722E86EEF6C}"/>
          </ac:graphicFrameMkLst>
        </pc:graphicFrameChg>
      </pc:sldChg>
      <pc:sldChg chg="addSp modSp mod modAnim">
        <pc:chgData name="Stina Ru" userId="a298bcda0a73aae4" providerId="LiveId" clId="{6316D269-D15A-4153-A313-9E53A15D190E}" dt="2023-01-20T07:18:39.471" v="13500" actId="1076"/>
        <pc:sldMkLst>
          <pc:docMk/>
          <pc:sldMk cId="4137465518" sldId="1231"/>
        </pc:sldMkLst>
        <pc:spChg chg="mod">
          <ac:chgData name="Stina Ru" userId="a298bcda0a73aae4" providerId="LiveId" clId="{6316D269-D15A-4153-A313-9E53A15D190E}" dt="2023-01-16T17:44:25.224" v="6272" actId="20577"/>
          <ac:spMkLst>
            <pc:docMk/>
            <pc:sldMk cId="4137465518" sldId="1231"/>
            <ac:spMk id="2" creationId="{2E8E55A0-73B3-4565-BA58-ACE5F64229D6}"/>
          </ac:spMkLst>
        </pc:spChg>
        <pc:spChg chg="mod">
          <ac:chgData name="Stina Ru" userId="a298bcda0a73aae4" providerId="LiveId" clId="{6316D269-D15A-4153-A313-9E53A15D190E}" dt="2023-01-20T07:18:39.471" v="13500" actId="1076"/>
          <ac:spMkLst>
            <pc:docMk/>
            <pc:sldMk cId="4137465518" sldId="1231"/>
            <ac:spMk id="3" creationId="{62E373E2-E479-4B85-B011-875D0EA60F4A}"/>
          </ac:spMkLst>
        </pc:spChg>
        <pc:picChg chg="add mod">
          <ac:chgData name="Stina Ru" userId="a298bcda0a73aae4" providerId="LiveId" clId="{6316D269-D15A-4153-A313-9E53A15D190E}" dt="2023-01-20T07:18:28.148" v="13497" actId="1076"/>
          <ac:picMkLst>
            <pc:docMk/>
            <pc:sldMk cId="4137465518" sldId="1231"/>
            <ac:picMk id="6" creationId="{3B9D8C65-F040-D1A5-77C9-157E73B483FA}"/>
          </ac:picMkLst>
        </pc:picChg>
      </pc:sldChg>
      <pc:sldChg chg="del">
        <pc:chgData name="Stina Ru" userId="a298bcda0a73aae4" providerId="LiveId" clId="{6316D269-D15A-4153-A313-9E53A15D190E}" dt="2023-01-16T22:07:28.363" v="11981" actId="47"/>
        <pc:sldMkLst>
          <pc:docMk/>
          <pc:sldMk cId="914130761" sldId="1232"/>
        </pc:sldMkLst>
      </pc:sldChg>
      <pc:sldChg chg="modSp mod modAnim">
        <pc:chgData name="Stina Ru" userId="a298bcda0a73aae4" providerId="LiveId" clId="{6316D269-D15A-4153-A313-9E53A15D190E}" dt="2023-01-18T08:23:11.346" v="12176"/>
        <pc:sldMkLst>
          <pc:docMk/>
          <pc:sldMk cId="3151220454" sldId="1234"/>
        </pc:sldMkLst>
        <pc:spChg chg="mod">
          <ac:chgData name="Stina Ru" userId="a298bcda0a73aae4" providerId="LiveId" clId="{6316D269-D15A-4153-A313-9E53A15D190E}" dt="2023-01-18T08:22:47.541" v="12168" actId="113"/>
          <ac:spMkLst>
            <pc:docMk/>
            <pc:sldMk cId="3151220454" sldId="1234"/>
            <ac:spMk id="3" creationId="{62E373E2-E479-4B85-B011-875D0EA60F4A}"/>
          </ac:spMkLst>
        </pc:spChg>
      </pc:sldChg>
      <pc:sldChg chg="delSp modSp mod modAnim">
        <pc:chgData name="Stina Ru" userId="a298bcda0a73aae4" providerId="LiveId" clId="{6316D269-D15A-4153-A313-9E53A15D190E}" dt="2023-01-18T11:15:00.214" v="13391" actId="113"/>
        <pc:sldMkLst>
          <pc:docMk/>
          <pc:sldMk cId="2717821526" sldId="1235"/>
        </pc:sldMkLst>
        <pc:spChg chg="mod">
          <ac:chgData name="Stina Ru" userId="a298bcda0a73aae4" providerId="LiveId" clId="{6316D269-D15A-4153-A313-9E53A15D190E}" dt="2023-01-18T08:25:32.481" v="12196" actId="20577"/>
          <ac:spMkLst>
            <pc:docMk/>
            <pc:sldMk cId="2717821526" sldId="1235"/>
            <ac:spMk id="2" creationId="{2E8E55A0-73B3-4565-BA58-ACE5F64229D6}"/>
          </ac:spMkLst>
        </pc:spChg>
        <pc:spChg chg="mod">
          <ac:chgData name="Stina Ru" userId="a298bcda0a73aae4" providerId="LiveId" clId="{6316D269-D15A-4153-A313-9E53A15D190E}" dt="2023-01-18T11:15:00.214" v="13391" actId="113"/>
          <ac:spMkLst>
            <pc:docMk/>
            <pc:sldMk cId="2717821526" sldId="1235"/>
            <ac:spMk id="3" creationId="{62E373E2-E479-4B85-B011-875D0EA60F4A}"/>
          </ac:spMkLst>
        </pc:spChg>
        <pc:spChg chg="del">
          <ac:chgData name="Stina Ru" userId="a298bcda0a73aae4" providerId="LiveId" clId="{6316D269-D15A-4153-A313-9E53A15D190E}" dt="2023-01-16T14:56:10.062" v="1127" actId="478"/>
          <ac:spMkLst>
            <pc:docMk/>
            <pc:sldMk cId="2717821526" sldId="1235"/>
            <ac:spMk id="6" creationId="{5759E4D5-81A7-E862-F343-0F9E11573684}"/>
          </ac:spMkLst>
        </pc:spChg>
      </pc:sldChg>
      <pc:sldChg chg="del">
        <pc:chgData name="Stina Ru" userId="a298bcda0a73aae4" providerId="LiveId" clId="{6316D269-D15A-4153-A313-9E53A15D190E}" dt="2023-01-16T22:07:27.195" v="11978" actId="47"/>
        <pc:sldMkLst>
          <pc:docMk/>
          <pc:sldMk cId="9932061" sldId="1236"/>
        </pc:sldMkLst>
      </pc:sldChg>
      <pc:sldChg chg="del">
        <pc:chgData name="Stina Ru" userId="a298bcda0a73aae4" providerId="LiveId" clId="{6316D269-D15A-4153-A313-9E53A15D190E}" dt="2023-01-16T22:07:27.429" v="11979" actId="47"/>
        <pc:sldMkLst>
          <pc:docMk/>
          <pc:sldMk cId="41787015" sldId="1238"/>
        </pc:sldMkLst>
      </pc:sldChg>
      <pc:sldChg chg="del">
        <pc:chgData name="Stina Ru" userId="a298bcda0a73aae4" providerId="LiveId" clId="{6316D269-D15A-4153-A313-9E53A15D190E}" dt="2023-01-16T22:07:35.879" v="11986" actId="47"/>
        <pc:sldMkLst>
          <pc:docMk/>
          <pc:sldMk cId="1722724133" sldId="1239"/>
        </pc:sldMkLst>
      </pc:sldChg>
      <pc:sldChg chg="del">
        <pc:chgData name="Stina Ru" userId="a298bcda0a73aae4" providerId="LiveId" clId="{6316D269-D15A-4153-A313-9E53A15D190E}" dt="2023-01-16T22:07:27.946" v="11980" actId="47"/>
        <pc:sldMkLst>
          <pc:docMk/>
          <pc:sldMk cId="1014727680" sldId="1241"/>
        </pc:sldMkLst>
      </pc:sldChg>
      <pc:sldChg chg="del">
        <pc:chgData name="Stina Ru" userId="a298bcda0a73aae4" providerId="LiveId" clId="{6316D269-D15A-4153-A313-9E53A15D190E}" dt="2023-01-16T22:07:29.402" v="11983" actId="47"/>
        <pc:sldMkLst>
          <pc:docMk/>
          <pc:sldMk cId="256626731" sldId="1242"/>
        </pc:sldMkLst>
      </pc:sldChg>
      <pc:sldChg chg="del">
        <pc:chgData name="Stina Ru" userId="a298bcda0a73aae4" providerId="LiveId" clId="{6316D269-D15A-4153-A313-9E53A15D190E}" dt="2023-01-16T22:07:28.808" v="11982" actId="47"/>
        <pc:sldMkLst>
          <pc:docMk/>
          <pc:sldMk cId="253517813" sldId="1243"/>
        </pc:sldMkLst>
      </pc:sldChg>
      <pc:sldChg chg="del">
        <pc:chgData name="Stina Ru" userId="a298bcda0a73aae4" providerId="LiveId" clId="{6316D269-D15A-4153-A313-9E53A15D190E}" dt="2023-01-16T22:07:34.693" v="11984" actId="47"/>
        <pc:sldMkLst>
          <pc:docMk/>
          <pc:sldMk cId="2032091523" sldId="1246"/>
        </pc:sldMkLst>
      </pc:sldChg>
      <pc:sldChg chg="del">
        <pc:chgData name="Stina Ru" userId="a298bcda0a73aae4" providerId="LiveId" clId="{6316D269-D15A-4153-A313-9E53A15D190E}" dt="2023-01-16T22:07:35.383" v="11985" actId="47"/>
        <pc:sldMkLst>
          <pc:docMk/>
          <pc:sldMk cId="751665922" sldId="1247"/>
        </pc:sldMkLst>
      </pc:sldChg>
      <pc:sldChg chg="del">
        <pc:chgData name="Stina Ru" userId="a298bcda0a73aae4" providerId="LiveId" clId="{6316D269-D15A-4153-A313-9E53A15D190E}" dt="2023-01-16T22:07:36.451" v="11987" actId="47"/>
        <pc:sldMkLst>
          <pc:docMk/>
          <pc:sldMk cId="943104780" sldId="1248"/>
        </pc:sldMkLst>
      </pc:sldChg>
      <pc:sldChg chg="addSp delSp modSp mod modAnim">
        <pc:chgData name="Stina Ru" userId="a298bcda0a73aae4" providerId="LiveId" clId="{6316D269-D15A-4153-A313-9E53A15D190E}" dt="2023-01-18T09:35:27.239" v="13206"/>
        <pc:sldMkLst>
          <pc:docMk/>
          <pc:sldMk cId="1373199701" sldId="1249"/>
        </pc:sldMkLst>
        <pc:spChg chg="add mod">
          <ac:chgData name="Stina Ru" userId="a298bcda0a73aae4" providerId="LiveId" clId="{6316D269-D15A-4153-A313-9E53A15D190E}" dt="2023-01-18T09:29:54.688" v="12980" actId="1076"/>
          <ac:spMkLst>
            <pc:docMk/>
            <pc:sldMk cId="1373199701" sldId="1249"/>
            <ac:spMk id="6" creationId="{441FB1EE-852B-3BE7-5F3F-E36E2993F6B2}"/>
          </ac:spMkLst>
        </pc:spChg>
        <pc:spChg chg="add mod">
          <ac:chgData name="Stina Ru" userId="a298bcda0a73aae4" providerId="LiveId" clId="{6316D269-D15A-4153-A313-9E53A15D190E}" dt="2023-01-18T09:34:01.164" v="13178" actId="1076"/>
          <ac:spMkLst>
            <pc:docMk/>
            <pc:sldMk cId="1373199701" sldId="1249"/>
            <ac:spMk id="8" creationId="{596CE75F-3162-7494-ACBD-CEFD395B1775}"/>
          </ac:spMkLst>
        </pc:spChg>
        <pc:spChg chg="add mod">
          <ac:chgData name="Stina Ru" userId="a298bcda0a73aae4" providerId="LiveId" clId="{6316D269-D15A-4153-A313-9E53A15D190E}" dt="2023-01-18T09:33:57.829" v="13177" actId="1076"/>
          <ac:spMkLst>
            <pc:docMk/>
            <pc:sldMk cId="1373199701" sldId="1249"/>
            <ac:spMk id="10" creationId="{3772CAA5-B9A7-42E4-AC43-DDC7AEDF44F3}"/>
          </ac:spMkLst>
        </pc:spChg>
        <pc:spChg chg="add mod">
          <ac:chgData name="Stina Ru" userId="a298bcda0a73aae4" providerId="LiveId" clId="{6316D269-D15A-4153-A313-9E53A15D190E}" dt="2023-01-18T09:32:00.681" v="13032" actId="14100"/>
          <ac:spMkLst>
            <pc:docMk/>
            <pc:sldMk cId="1373199701" sldId="1249"/>
            <ac:spMk id="12" creationId="{A34D09D3-7334-9F44-88A3-5818E8AA2FA6}"/>
          </ac:spMkLst>
        </pc:spChg>
        <pc:spChg chg="add mod">
          <ac:chgData name="Stina Ru" userId="a298bcda0a73aae4" providerId="LiveId" clId="{6316D269-D15A-4153-A313-9E53A15D190E}" dt="2023-01-18T09:34:07.417" v="13179" actId="1076"/>
          <ac:spMkLst>
            <pc:docMk/>
            <pc:sldMk cId="1373199701" sldId="1249"/>
            <ac:spMk id="13" creationId="{A3269F6B-CF23-6083-725D-65AA4612C18F}"/>
          </ac:spMkLst>
        </pc:spChg>
        <pc:spChg chg="add del mod">
          <ac:chgData name="Stina Ru" userId="a298bcda0a73aae4" providerId="LiveId" clId="{6316D269-D15A-4153-A313-9E53A15D190E}" dt="2023-01-18T09:34:43.982" v="13189" actId="47"/>
          <ac:spMkLst>
            <pc:docMk/>
            <pc:sldMk cId="1373199701" sldId="1249"/>
            <ac:spMk id="14" creationId="{B6D6F7D3-EFDE-5EAE-A069-7AD9AE60B29F}"/>
          </ac:spMkLst>
        </pc:spChg>
        <pc:spChg chg="add del mod">
          <ac:chgData name="Stina Ru" userId="a298bcda0a73aae4" providerId="LiveId" clId="{6316D269-D15A-4153-A313-9E53A15D190E}" dt="2023-01-18T09:34:45.142" v="13192"/>
          <ac:spMkLst>
            <pc:docMk/>
            <pc:sldMk cId="1373199701" sldId="1249"/>
            <ac:spMk id="15" creationId="{29429F9E-7740-22B6-42B9-20F967FE884E}"/>
          </ac:spMkLst>
        </pc:spChg>
        <pc:spChg chg="add del mod">
          <ac:chgData name="Stina Ru" userId="a298bcda0a73aae4" providerId="LiveId" clId="{6316D269-D15A-4153-A313-9E53A15D190E}" dt="2023-01-18T09:34:44.343" v="13190"/>
          <ac:spMkLst>
            <pc:docMk/>
            <pc:sldMk cId="1373199701" sldId="1249"/>
            <ac:spMk id="16" creationId="{E5F581DE-7CF3-7602-1900-D3F626DB9BB5}"/>
          </ac:spMkLst>
        </pc:spChg>
        <pc:spChg chg="add mod">
          <ac:chgData name="Stina Ru" userId="a298bcda0a73aae4" providerId="LiveId" clId="{6316D269-D15A-4153-A313-9E53A15D190E}" dt="2023-01-18T09:35:01.940" v="13198" actId="1076"/>
          <ac:spMkLst>
            <pc:docMk/>
            <pc:sldMk cId="1373199701" sldId="1249"/>
            <ac:spMk id="17" creationId="{1F65BE95-D7DD-C6E5-7962-1FB9A229A493}"/>
          </ac:spMkLst>
        </pc:spChg>
        <pc:graphicFrameChg chg="mod modGraphic">
          <ac:chgData name="Stina Ru" userId="a298bcda0a73aae4" providerId="LiveId" clId="{6316D269-D15A-4153-A313-9E53A15D190E}" dt="2023-01-18T09:34:48.024" v="13193" actId="21"/>
          <ac:graphicFrameMkLst>
            <pc:docMk/>
            <pc:sldMk cId="1373199701" sldId="1249"/>
            <ac:graphicFrameMk id="7" creationId="{D633BC94-C973-7B55-C88D-C55EB5D08C39}"/>
          </ac:graphicFrameMkLst>
        </pc:graphicFrameChg>
      </pc:sldChg>
      <pc:sldChg chg="addSp delSp modSp add mod modAnim">
        <pc:chgData name="Stina Ru" userId="a298bcda0a73aae4" providerId="LiveId" clId="{6316D269-D15A-4153-A313-9E53A15D190E}" dt="2023-01-18T11:14:13.812" v="13390"/>
        <pc:sldMkLst>
          <pc:docMk/>
          <pc:sldMk cId="3404956484" sldId="1250"/>
        </pc:sldMkLst>
        <pc:spChg chg="mod">
          <ac:chgData name="Stina Ru" userId="a298bcda0a73aae4" providerId="LiveId" clId="{6316D269-D15A-4153-A313-9E53A15D190E}" dt="2023-01-18T11:12:59.028" v="13385" actId="404"/>
          <ac:spMkLst>
            <pc:docMk/>
            <pc:sldMk cId="3404956484" sldId="1250"/>
            <ac:spMk id="3" creationId="{62E373E2-E479-4B85-B011-875D0EA60F4A}"/>
          </ac:spMkLst>
        </pc:spChg>
        <pc:spChg chg="add mod">
          <ac:chgData name="Stina Ru" userId="a298bcda0a73aae4" providerId="LiveId" clId="{6316D269-D15A-4153-A313-9E53A15D190E}" dt="2023-01-18T11:12:42.219" v="13376" actId="1076"/>
          <ac:spMkLst>
            <pc:docMk/>
            <pc:sldMk cId="3404956484" sldId="1250"/>
            <ac:spMk id="6" creationId="{629EC2D8-E5C7-7F6E-0C2C-8562608BB593}"/>
          </ac:spMkLst>
        </pc:spChg>
        <pc:spChg chg="add mod">
          <ac:chgData name="Stina Ru" userId="a298bcda0a73aae4" providerId="LiveId" clId="{6316D269-D15A-4153-A313-9E53A15D190E}" dt="2023-01-18T11:12:46.558" v="13377" actId="1076"/>
          <ac:spMkLst>
            <pc:docMk/>
            <pc:sldMk cId="3404956484" sldId="1250"/>
            <ac:spMk id="7" creationId="{6DC5B58D-0DEA-8E65-25D0-96944DEFD9B0}"/>
          </ac:spMkLst>
        </pc:spChg>
        <pc:spChg chg="add del mod">
          <ac:chgData name="Stina Ru" userId="a298bcda0a73aae4" providerId="LiveId" clId="{6316D269-D15A-4153-A313-9E53A15D190E}" dt="2023-01-16T14:51:16.785" v="1032"/>
          <ac:spMkLst>
            <pc:docMk/>
            <pc:sldMk cId="3404956484" sldId="1250"/>
            <ac:spMk id="8" creationId="{7DE0C649-2721-8265-22B9-8EE05B066A22}"/>
          </ac:spMkLst>
        </pc:spChg>
      </pc:sldChg>
      <pc:sldChg chg="delSp modSp add del mod modAnim">
        <pc:chgData name="Stina Ru" userId="a298bcda0a73aae4" providerId="LiveId" clId="{6316D269-D15A-4153-A313-9E53A15D190E}" dt="2023-01-18T08:26:18.839" v="12204" actId="47"/>
        <pc:sldMkLst>
          <pc:docMk/>
          <pc:sldMk cId="813978260" sldId="1251"/>
        </pc:sldMkLst>
        <pc:spChg chg="mod">
          <ac:chgData name="Stina Ru" userId="a298bcda0a73aae4" providerId="LiveId" clId="{6316D269-D15A-4153-A313-9E53A15D190E}" dt="2023-01-16T14:52:50.536" v="1124" actId="20577"/>
          <ac:spMkLst>
            <pc:docMk/>
            <pc:sldMk cId="813978260" sldId="1251"/>
            <ac:spMk id="3" creationId="{62E373E2-E479-4B85-B011-875D0EA60F4A}"/>
          </ac:spMkLst>
        </pc:spChg>
        <pc:spChg chg="del">
          <ac:chgData name="Stina Ru" userId="a298bcda0a73aae4" providerId="LiveId" clId="{6316D269-D15A-4153-A313-9E53A15D190E}" dt="2023-01-16T14:52:53.204" v="1125" actId="478"/>
          <ac:spMkLst>
            <pc:docMk/>
            <pc:sldMk cId="813978260" sldId="1251"/>
            <ac:spMk id="6" creationId="{629EC2D8-E5C7-7F6E-0C2C-8562608BB593}"/>
          </ac:spMkLst>
        </pc:spChg>
        <pc:spChg chg="del">
          <ac:chgData name="Stina Ru" userId="a298bcda0a73aae4" providerId="LiveId" clId="{6316D269-D15A-4153-A313-9E53A15D190E}" dt="2023-01-16T14:52:55.537" v="1126" actId="478"/>
          <ac:spMkLst>
            <pc:docMk/>
            <pc:sldMk cId="813978260" sldId="1251"/>
            <ac:spMk id="7" creationId="{6DC5B58D-0DEA-8E65-25D0-96944DEFD9B0}"/>
          </ac:spMkLst>
        </pc:spChg>
      </pc:sldChg>
      <pc:sldChg chg="add del">
        <pc:chgData name="Stina Ru" userId="a298bcda0a73aae4" providerId="LiveId" clId="{6316D269-D15A-4153-A313-9E53A15D190E}" dt="2023-01-16T14:48:34.063" v="937"/>
        <pc:sldMkLst>
          <pc:docMk/>
          <pc:sldMk cId="3081326753" sldId="1251"/>
        </pc:sldMkLst>
      </pc:sldChg>
      <pc:sldChg chg="addSp delSp modSp add del mod modAnim">
        <pc:chgData name="Stina Ru" userId="a298bcda0a73aae4" providerId="LiveId" clId="{6316D269-D15A-4153-A313-9E53A15D190E}" dt="2023-01-20T07:17:55.507" v="13491" actId="47"/>
        <pc:sldMkLst>
          <pc:docMk/>
          <pc:sldMk cId="3608337255" sldId="1252"/>
        </pc:sldMkLst>
        <pc:spChg chg="mod">
          <ac:chgData name="Stina Ru" userId="a298bcda0a73aae4" providerId="LiveId" clId="{6316D269-D15A-4153-A313-9E53A15D190E}" dt="2023-01-16T17:18:43.632" v="3973" actId="20577"/>
          <ac:spMkLst>
            <pc:docMk/>
            <pc:sldMk cId="3608337255" sldId="1252"/>
            <ac:spMk id="2" creationId="{2E8E55A0-73B3-4565-BA58-ACE5F64229D6}"/>
          </ac:spMkLst>
        </pc:spChg>
        <pc:spChg chg="mod">
          <ac:chgData name="Stina Ru" userId="a298bcda0a73aae4" providerId="LiveId" clId="{6316D269-D15A-4153-A313-9E53A15D190E}" dt="2023-01-18T08:36:35.051" v="12437" actId="115"/>
          <ac:spMkLst>
            <pc:docMk/>
            <pc:sldMk cId="3608337255" sldId="1252"/>
            <ac:spMk id="3" creationId="{62E373E2-E479-4B85-B011-875D0EA60F4A}"/>
          </ac:spMkLst>
        </pc:spChg>
        <pc:picChg chg="add del mod">
          <ac:chgData name="Stina Ru" userId="a298bcda0a73aae4" providerId="LiveId" clId="{6316D269-D15A-4153-A313-9E53A15D190E}" dt="2023-01-18T08:32:33.287" v="12229" actId="478"/>
          <ac:picMkLst>
            <pc:docMk/>
            <pc:sldMk cId="3608337255" sldId="1252"/>
            <ac:picMk id="7" creationId="{5F5EC58B-B7D4-4243-3003-1CA1D2970A8E}"/>
          </ac:picMkLst>
        </pc:picChg>
        <pc:picChg chg="add mod">
          <ac:chgData name="Stina Ru" userId="a298bcda0a73aae4" providerId="LiveId" clId="{6316D269-D15A-4153-A313-9E53A15D190E}" dt="2023-01-18T08:32:43.140" v="12233" actId="1076"/>
          <ac:picMkLst>
            <pc:docMk/>
            <pc:sldMk cId="3608337255" sldId="1252"/>
            <ac:picMk id="8" creationId="{2DFB1A7E-8206-AB28-8D13-49EB7CB02764}"/>
          </ac:picMkLst>
        </pc:picChg>
      </pc:sldChg>
      <pc:sldChg chg="modSp add mod modAnim">
        <pc:chgData name="Stina Ru" userId="a298bcda0a73aae4" providerId="LiveId" clId="{6316D269-D15A-4153-A313-9E53A15D190E}" dt="2023-01-18T08:27:25.867" v="12214" actId="207"/>
        <pc:sldMkLst>
          <pc:docMk/>
          <pc:sldMk cId="1194265311" sldId="1253"/>
        </pc:sldMkLst>
        <pc:spChg chg="mod">
          <ac:chgData name="Stina Ru" userId="a298bcda0a73aae4" providerId="LiveId" clId="{6316D269-D15A-4153-A313-9E53A15D190E}" dt="2023-01-18T08:27:25.867" v="12214" actId="207"/>
          <ac:spMkLst>
            <pc:docMk/>
            <pc:sldMk cId="1194265311" sldId="1253"/>
            <ac:spMk id="3" creationId="{62E373E2-E479-4B85-B011-875D0EA60F4A}"/>
          </ac:spMkLst>
        </pc:spChg>
      </pc:sldChg>
      <pc:sldChg chg="modSp add mod modAnim">
        <pc:chgData name="Stina Ru" userId="a298bcda0a73aae4" providerId="LiveId" clId="{6316D269-D15A-4153-A313-9E53A15D190E}" dt="2023-01-18T08:27:56.562" v="12215"/>
        <pc:sldMkLst>
          <pc:docMk/>
          <pc:sldMk cId="642850764" sldId="1254"/>
        </pc:sldMkLst>
        <pc:spChg chg="mod">
          <ac:chgData name="Stina Ru" userId="a298bcda0a73aae4" providerId="LiveId" clId="{6316D269-D15A-4153-A313-9E53A15D190E}" dt="2023-01-16T17:13:08.675" v="3576" actId="20577"/>
          <ac:spMkLst>
            <pc:docMk/>
            <pc:sldMk cId="642850764" sldId="1254"/>
            <ac:spMk id="2" creationId="{2E8E55A0-73B3-4565-BA58-ACE5F64229D6}"/>
          </ac:spMkLst>
        </pc:spChg>
        <pc:spChg chg="mod">
          <ac:chgData name="Stina Ru" userId="a298bcda0a73aae4" providerId="LiveId" clId="{6316D269-D15A-4153-A313-9E53A15D190E}" dt="2023-01-16T17:13:03.167" v="3574" actId="1076"/>
          <ac:spMkLst>
            <pc:docMk/>
            <pc:sldMk cId="642850764" sldId="1254"/>
            <ac:spMk id="3" creationId="{62E373E2-E479-4B85-B011-875D0EA60F4A}"/>
          </ac:spMkLst>
        </pc:spChg>
      </pc:sldChg>
      <pc:sldChg chg="addSp delSp modSp add mod modAnim">
        <pc:chgData name="Stina Ru" userId="a298bcda0a73aae4" providerId="LiveId" clId="{6316D269-D15A-4153-A313-9E53A15D190E}" dt="2023-01-18T11:16:10.719" v="13392" actId="20577"/>
        <pc:sldMkLst>
          <pc:docMk/>
          <pc:sldMk cId="1013210071" sldId="1255"/>
        </pc:sldMkLst>
        <pc:spChg chg="mod">
          <ac:chgData name="Stina Ru" userId="a298bcda0a73aae4" providerId="LiveId" clId="{6316D269-D15A-4153-A313-9E53A15D190E}" dt="2023-01-16T17:14:03.461" v="3681" actId="6549"/>
          <ac:spMkLst>
            <pc:docMk/>
            <pc:sldMk cId="1013210071" sldId="1255"/>
            <ac:spMk id="2" creationId="{2E8E55A0-73B3-4565-BA58-ACE5F64229D6}"/>
          </ac:spMkLst>
        </pc:spChg>
        <pc:spChg chg="mod">
          <ac:chgData name="Stina Ru" userId="a298bcda0a73aae4" providerId="LiveId" clId="{6316D269-D15A-4153-A313-9E53A15D190E}" dt="2023-01-16T17:16:54.436" v="3923" actId="14100"/>
          <ac:spMkLst>
            <pc:docMk/>
            <pc:sldMk cId="1013210071" sldId="1255"/>
            <ac:spMk id="3" creationId="{62E373E2-E479-4B85-B011-875D0EA60F4A}"/>
          </ac:spMkLst>
        </pc:spChg>
        <pc:spChg chg="add mod">
          <ac:chgData name="Stina Ru" userId="a298bcda0a73aae4" providerId="LiveId" clId="{6316D269-D15A-4153-A313-9E53A15D190E}" dt="2023-01-18T11:16:10.719" v="13392" actId="20577"/>
          <ac:spMkLst>
            <pc:docMk/>
            <pc:sldMk cId="1013210071" sldId="1255"/>
            <ac:spMk id="9" creationId="{2BD75150-C03B-C93B-B5FC-C9B7401E02D4}"/>
          </ac:spMkLst>
        </pc:spChg>
        <pc:picChg chg="add del mod">
          <ac:chgData name="Stina Ru" userId="a298bcda0a73aae4" providerId="LiveId" clId="{6316D269-D15A-4153-A313-9E53A15D190E}" dt="2023-01-16T17:14:36.170" v="3687" actId="478"/>
          <ac:picMkLst>
            <pc:docMk/>
            <pc:sldMk cId="1013210071" sldId="1255"/>
            <ac:picMk id="6" creationId="{90E80553-3579-A646-8ED7-7D6B9099873B}"/>
          </ac:picMkLst>
        </pc:picChg>
        <pc:picChg chg="add mod">
          <ac:chgData name="Stina Ru" userId="a298bcda0a73aae4" providerId="LiveId" clId="{6316D269-D15A-4153-A313-9E53A15D190E}" dt="2023-01-16T17:16:50.214" v="3922" actId="1076"/>
          <ac:picMkLst>
            <pc:docMk/>
            <pc:sldMk cId="1013210071" sldId="1255"/>
            <ac:picMk id="8" creationId="{7E0FE579-FA3B-A0FB-1591-E9F4B4FCDA2B}"/>
          </ac:picMkLst>
        </pc:picChg>
      </pc:sldChg>
      <pc:sldChg chg="addSp delSp modSp add mod ord">
        <pc:chgData name="Stina Ru" userId="a298bcda0a73aae4" providerId="LiveId" clId="{6316D269-D15A-4153-A313-9E53A15D190E}" dt="2023-01-20T07:18:12.097" v="13493" actId="1035"/>
        <pc:sldMkLst>
          <pc:docMk/>
          <pc:sldMk cId="3844261017" sldId="1256"/>
        </pc:sldMkLst>
        <pc:spChg chg="mod">
          <ac:chgData name="Stina Ru" userId="a298bcda0a73aae4" providerId="LiveId" clId="{6316D269-D15A-4153-A313-9E53A15D190E}" dt="2023-01-16T17:31:36.585" v="5108" actId="6549"/>
          <ac:spMkLst>
            <pc:docMk/>
            <pc:sldMk cId="3844261017" sldId="1256"/>
            <ac:spMk id="2" creationId="{2E8E55A0-73B3-4565-BA58-ACE5F64229D6}"/>
          </ac:spMkLst>
        </pc:spChg>
        <pc:spChg chg="del mod">
          <ac:chgData name="Stina Ru" userId="a298bcda0a73aae4" providerId="LiveId" clId="{6316D269-D15A-4153-A313-9E53A15D190E}" dt="2023-01-16T17:31:52.023" v="5111"/>
          <ac:spMkLst>
            <pc:docMk/>
            <pc:sldMk cId="3844261017" sldId="1256"/>
            <ac:spMk id="3" creationId="{62E373E2-E479-4B85-B011-875D0EA60F4A}"/>
          </ac:spMkLst>
        </pc:spChg>
        <pc:spChg chg="add del mod">
          <ac:chgData name="Stina Ru" userId="a298bcda0a73aae4" providerId="LiveId" clId="{6316D269-D15A-4153-A313-9E53A15D190E}" dt="2023-01-16T17:40:43.582" v="6048" actId="478"/>
          <ac:spMkLst>
            <pc:docMk/>
            <pc:sldMk cId="3844261017" sldId="1256"/>
            <ac:spMk id="8" creationId="{A104B45B-A6E3-5BFC-0869-868B5E6E7290}"/>
          </ac:spMkLst>
        </pc:spChg>
        <pc:graphicFrameChg chg="add mod modGraphic">
          <ac:chgData name="Stina Ru" userId="a298bcda0a73aae4" providerId="LiveId" clId="{6316D269-D15A-4153-A313-9E53A15D190E}" dt="2023-01-16T17:44:03.514" v="6208" actId="5793"/>
          <ac:graphicFrameMkLst>
            <pc:docMk/>
            <pc:sldMk cId="3844261017" sldId="1256"/>
            <ac:graphicFrameMk id="9" creationId="{5C0BD506-0AC4-2E13-FC3C-DAF16F588EE2}"/>
          </ac:graphicFrameMkLst>
        </pc:graphicFrameChg>
        <pc:picChg chg="add mod">
          <ac:chgData name="Stina Ru" userId="a298bcda0a73aae4" providerId="LiveId" clId="{6316D269-D15A-4153-A313-9E53A15D190E}" dt="2023-01-20T07:18:12.097" v="13493" actId="1035"/>
          <ac:picMkLst>
            <pc:docMk/>
            <pc:sldMk cId="3844261017" sldId="1256"/>
            <ac:picMk id="6" creationId="{75B6F505-4B96-7C83-D821-D360C0704443}"/>
          </ac:picMkLst>
        </pc:picChg>
        <pc:picChg chg="del">
          <ac:chgData name="Stina Ru" userId="a298bcda0a73aae4" providerId="LiveId" clId="{6316D269-D15A-4153-A313-9E53A15D190E}" dt="2023-01-16T17:31:48.550" v="5109" actId="478"/>
          <ac:picMkLst>
            <pc:docMk/>
            <pc:sldMk cId="3844261017" sldId="1256"/>
            <ac:picMk id="7" creationId="{5F5EC58B-B7D4-4243-3003-1CA1D2970A8E}"/>
          </ac:picMkLst>
        </pc:picChg>
      </pc:sldChg>
      <pc:sldChg chg="add del">
        <pc:chgData name="Stina Ru" userId="a298bcda0a73aae4" providerId="LiveId" clId="{6316D269-D15A-4153-A313-9E53A15D190E}" dt="2023-01-16T17:48:50.682" v="6801" actId="47"/>
        <pc:sldMkLst>
          <pc:docMk/>
          <pc:sldMk cId="136040829" sldId="1257"/>
        </pc:sldMkLst>
      </pc:sldChg>
      <pc:sldChg chg="addSp modSp add mod modAnim">
        <pc:chgData name="Stina Ru" userId="a298bcda0a73aae4" providerId="LiveId" clId="{6316D269-D15A-4153-A313-9E53A15D190E}" dt="2023-01-20T07:18:20.344" v="13494" actId="14100"/>
        <pc:sldMkLst>
          <pc:docMk/>
          <pc:sldMk cId="829881113" sldId="1257"/>
        </pc:sldMkLst>
        <pc:spChg chg="mod">
          <ac:chgData name="Stina Ru" userId="a298bcda0a73aae4" providerId="LiveId" clId="{6316D269-D15A-4153-A313-9E53A15D190E}" dt="2023-01-18T08:58:35.628" v="12438" actId="207"/>
          <ac:spMkLst>
            <pc:docMk/>
            <pc:sldMk cId="829881113" sldId="1257"/>
            <ac:spMk id="2" creationId="{2E8E55A0-73B3-4565-BA58-ACE5F64229D6}"/>
          </ac:spMkLst>
        </pc:spChg>
        <pc:spChg chg="mod">
          <ac:chgData name="Stina Ru" userId="a298bcda0a73aae4" providerId="LiveId" clId="{6316D269-D15A-4153-A313-9E53A15D190E}" dt="2023-01-20T07:18:20.344" v="13494" actId="14100"/>
          <ac:spMkLst>
            <pc:docMk/>
            <pc:sldMk cId="829881113" sldId="1257"/>
            <ac:spMk id="3" creationId="{62E373E2-E479-4B85-B011-875D0EA60F4A}"/>
          </ac:spMkLst>
        </pc:spChg>
        <pc:cxnChg chg="add mod">
          <ac:chgData name="Stina Ru" userId="a298bcda0a73aae4" providerId="LiveId" clId="{6316D269-D15A-4153-A313-9E53A15D190E}" dt="2023-01-18T11:19:01.714" v="13485" actId="1076"/>
          <ac:cxnSpMkLst>
            <pc:docMk/>
            <pc:sldMk cId="829881113" sldId="1257"/>
            <ac:cxnSpMk id="7" creationId="{DAE2270D-A489-3D7B-1ED2-8E0F88A0B6FA}"/>
          </ac:cxnSpMkLst>
        </pc:cxnChg>
      </pc:sldChg>
      <pc:sldChg chg="modSp add mod modAnim">
        <pc:chgData name="Stina Ru" userId="a298bcda0a73aae4" providerId="LiveId" clId="{6316D269-D15A-4153-A313-9E53A15D190E}" dt="2023-01-20T07:18:53.842" v="13505" actId="20577"/>
        <pc:sldMkLst>
          <pc:docMk/>
          <pc:sldMk cId="1887256560" sldId="1258"/>
        </pc:sldMkLst>
        <pc:spChg chg="mod">
          <ac:chgData name="Stina Ru" userId="a298bcda0a73aae4" providerId="LiveId" clId="{6316D269-D15A-4153-A313-9E53A15D190E}" dt="2023-01-20T07:18:53.842" v="13505" actId="20577"/>
          <ac:spMkLst>
            <pc:docMk/>
            <pc:sldMk cId="1887256560" sldId="1258"/>
            <ac:spMk id="3" creationId="{62E373E2-E479-4B85-B011-875D0EA60F4A}"/>
          </ac:spMkLst>
        </pc:spChg>
      </pc:sldChg>
      <pc:sldChg chg="modSp add mod ord modAnim">
        <pc:chgData name="Stina Ru" userId="a298bcda0a73aae4" providerId="LiveId" clId="{6316D269-D15A-4153-A313-9E53A15D190E}" dt="2023-01-18T11:20:01.099" v="13487" actId="14100"/>
        <pc:sldMkLst>
          <pc:docMk/>
          <pc:sldMk cId="1388134684" sldId="1259"/>
        </pc:sldMkLst>
        <pc:spChg chg="mod">
          <ac:chgData name="Stina Ru" userId="a298bcda0a73aae4" providerId="LiveId" clId="{6316D269-D15A-4153-A313-9E53A15D190E}" dt="2023-01-18T11:20:01.099" v="13487" actId="14100"/>
          <ac:spMkLst>
            <pc:docMk/>
            <pc:sldMk cId="1388134684" sldId="1259"/>
            <ac:spMk id="3" creationId="{62E373E2-E479-4B85-B011-875D0EA60F4A}"/>
          </ac:spMkLst>
        </pc:spChg>
      </pc:sldChg>
      <pc:sldChg chg="addSp modSp add mod modAnim">
        <pc:chgData name="Stina Ru" userId="a298bcda0a73aae4" providerId="LiveId" clId="{6316D269-D15A-4153-A313-9E53A15D190E}" dt="2023-01-18T09:02:35.400" v="12579"/>
        <pc:sldMkLst>
          <pc:docMk/>
          <pc:sldMk cId="1046328190" sldId="1260"/>
        </pc:sldMkLst>
        <pc:spChg chg="mod">
          <ac:chgData name="Stina Ru" userId="a298bcda0a73aae4" providerId="LiveId" clId="{6316D269-D15A-4153-A313-9E53A15D190E}" dt="2023-01-16T21:32:29.138" v="10076" actId="20577"/>
          <ac:spMkLst>
            <pc:docMk/>
            <pc:sldMk cId="1046328190" sldId="1260"/>
            <ac:spMk id="3" creationId="{62E373E2-E479-4B85-B011-875D0EA60F4A}"/>
          </ac:spMkLst>
        </pc:spChg>
        <pc:spChg chg="add mod">
          <ac:chgData name="Stina Ru" userId="a298bcda0a73aae4" providerId="LiveId" clId="{6316D269-D15A-4153-A313-9E53A15D190E}" dt="2023-01-16T21:30:16.459" v="10026" actId="1076"/>
          <ac:spMkLst>
            <pc:docMk/>
            <pc:sldMk cId="1046328190" sldId="1260"/>
            <ac:spMk id="6" creationId="{3D92C81D-98CB-D71D-004A-076036D9DB64}"/>
          </ac:spMkLst>
        </pc:spChg>
      </pc:sldChg>
      <pc:sldChg chg="delSp modSp add mod modAnim">
        <pc:chgData name="Stina Ru" userId="a298bcda0a73aae4" providerId="LiveId" clId="{6316D269-D15A-4153-A313-9E53A15D190E}" dt="2023-01-18T09:09:43.414" v="12597" actId="20577"/>
        <pc:sldMkLst>
          <pc:docMk/>
          <pc:sldMk cId="2892182785" sldId="1261"/>
        </pc:sldMkLst>
        <pc:spChg chg="mod">
          <ac:chgData name="Stina Ru" userId="a298bcda0a73aae4" providerId="LiveId" clId="{6316D269-D15A-4153-A313-9E53A15D190E}" dt="2023-01-16T21:50:45.834" v="10548" actId="207"/>
          <ac:spMkLst>
            <pc:docMk/>
            <pc:sldMk cId="2892182785" sldId="1261"/>
            <ac:spMk id="2" creationId="{2E8E55A0-73B3-4565-BA58-ACE5F64229D6}"/>
          </ac:spMkLst>
        </pc:spChg>
        <pc:spChg chg="mod">
          <ac:chgData name="Stina Ru" userId="a298bcda0a73aae4" providerId="LiveId" clId="{6316D269-D15A-4153-A313-9E53A15D190E}" dt="2023-01-18T09:09:43.414" v="12597" actId="20577"/>
          <ac:spMkLst>
            <pc:docMk/>
            <pc:sldMk cId="2892182785" sldId="1261"/>
            <ac:spMk id="3" creationId="{62E373E2-E479-4B85-B011-875D0EA60F4A}"/>
          </ac:spMkLst>
        </pc:spChg>
        <pc:spChg chg="del">
          <ac:chgData name="Stina Ru" userId="a298bcda0a73aae4" providerId="LiveId" clId="{6316D269-D15A-4153-A313-9E53A15D190E}" dt="2023-01-16T21:31:57.657" v="10064" actId="478"/>
          <ac:spMkLst>
            <pc:docMk/>
            <pc:sldMk cId="2892182785" sldId="1261"/>
            <ac:spMk id="6" creationId="{3D92C81D-98CB-D71D-004A-076036D9DB64}"/>
          </ac:spMkLst>
        </pc:spChg>
      </pc:sldChg>
      <pc:sldChg chg="addSp delSp modSp add mod modAnim">
        <pc:chgData name="Stina Ru" userId="a298bcda0a73aae4" providerId="LiveId" clId="{6316D269-D15A-4153-A313-9E53A15D190E}" dt="2023-01-18T09:12:58.025" v="12695"/>
        <pc:sldMkLst>
          <pc:docMk/>
          <pc:sldMk cId="22420036" sldId="1262"/>
        </pc:sldMkLst>
        <pc:spChg chg="mod">
          <ac:chgData name="Stina Ru" userId="a298bcda0a73aae4" providerId="LiveId" clId="{6316D269-D15A-4153-A313-9E53A15D190E}" dt="2023-01-18T09:10:56.108" v="12626"/>
          <ac:spMkLst>
            <pc:docMk/>
            <pc:sldMk cId="22420036" sldId="1262"/>
            <ac:spMk id="3" creationId="{62E373E2-E479-4B85-B011-875D0EA60F4A}"/>
          </ac:spMkLst>
        </pc:spChg>
        <pc:spChg chg="add del mod">
          <ac:chgData name="Stina Ru" userId="a298bcda0a73aae4" providerId="LiveId" clId="{6316D269-D15A-4153-A313-9E53A15D190E}" dt="2023-01-18T09:10:50.958" v="12624"/>
          <ac:spMkLst>
            <pc:docMk/>
            <pc:sldMk cId="22420036" sldId="1262"/>
            <ac:spMk id="7" creationId="{9BEE30F2-4D7D-894B-8298-810CED1FECAB}"/>
          </ac:spMkLst>
        </pc:spChg>
        <pc:spChg chg="add mod">
          <ac:chgData name="Stina Ru" userId="a298bcda0a73aae4" providerId="LiveId" clId="{6316D269-D15A-4153-A313-9E53A15D190E}" dt="2023-01-18T09:12:23.406" v="12690" actId="113"/>
          <ac:spMkLst>
            <pc:docMk/>
            <pc:sldMk cId="22420036" sldId="1262"/>
            <ac:spMk id="8" creationId="{11842D39-157F-793C-A6D1-678ECB2CA94A}"/>
          </ac:spMkLst>
        </pc:spChg>
        <pc:spChg chg="add mod">
          <ac:chgData name="Stina Ru" userId="a298bcda0a73aae4" providerId="LiveId" clId="{6316D269-D15A-4153-A313-9E53A15D190E}" dt="2023-01-18T09:11:57.810" v="12680" actId="1076"/>
          <ac:spMkLst>
            <pc:docMk/>
            <pc:sldMk cId="22420036" sldId="1262"/>
            <ac:spMk id="9" creationId="{114E19E3-6F43-745E-3AF9-E1592EC9984A}"/>
          </ac:spMkLst>
        </pc:spChg>
        <pc:spChg chg="add mod">
          <ac:chgData name="Stina Ru" userId="a298bcda0a73aae4" providerId="LiveId" clId="{6316D269-D15A-4153-A313-9E53A15D190E}" dt="2023-01-18T09:12:19.011" v="12689" actId="1076"/>
          <ac:spMkLst>
            <pc:docMk/>
            <pc:sldMk cId="22420036" sldId="1262"/>
            <ac:spMk id="10" creationId="{D36381CA-9B10-B907-5D64-4C95052A498C}"/>
          </ac:spMkLst>
        </pc:spChg>
        <pc:graphicFrameChg chg="add mod modGraphic">
          <ac:chgData name="Stina Ru" userId="a298bcda0a73aae4" providerId="LiveId" clId="{6316D269-D15A-4153-A313-9E53A15D190E}" dt="2023-01-18T09:12:08.149" v="12683" actId="21"/>
          <ac:graphicFrameMkLst>
            <pc:docMk/>
            <pc:sldMk cId="22420036" sldId="1262"/>
            <ac:graphicFrameMk id="6" creationId="{0AC7415C-1013-1335-FB04-72966AB9B772}"/>
          </ac:graphicFrameMkLst>
        </pc:graphicFrameChg>
      </pc:sldChg>
      <pc:sldChg chg="delSp modSp add del mod ord">
        <pc:chgData name="Stina Ru" userId="a298bcda0a73aae4" providerId="LiveId" clId="{6316D269-D15A-4153-A313-9E53A15D190E}" dt="2023-01-18T09:14:51.671" v="12733" actId="47"/>
        <pc:sldMkLst>
          <pc:docMk/>
          <pc:sldMk cId="99248488" sldId="1263"/>
        </pc:sldMkLst>
        <pc:spChg chg="mod">
          <ac:chgData name="Stina Ru" userId="a298bcda0a73aae4" providerId="LiveId" clId="{6316D269-D15A-4153-A313-9E53A15D190E}" dt="2023-01-16T22:07:16.658" v="11976" actId="20577"/>
          <ac:spMkLst>
            <pc:docMk/>
            <pc:sldMk cId="99248488" sldId="1263"/>
            <ac:spMk id="3" creationId="{62E373E2-E479-4B85-B011-875D0EA60F4A}"/>
          </ac:spMkLst>
        </pc:spChg>
        <pc:graphicFrameChg chg="del">
          <ac:chgData name="Stina Ru" userId="a298bcda0a73aae4" providerId="LiveId" clId="{6316D269-D15A-4153-A313-9E53A15D190E}" dt="2023-01-16T22:07:18.722" v="11977" actId="478"/>
          <ac:graphicFrameMkLst>
            <pc:docMk/>
            <pc:sldMk cId="99248488" sldId="1263"/>
            <ac:graphicFrameMk id="6" creationId="{0AC7415C-1013-1335-FB04-72966AB9B772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5549" tIns="47775" rIns="95549" bIns="47775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5549" tIns="47775" rIns="95549" bIns="47775" rtlCol="0"/>
          <a:lstStyle>
            <a:lvl1pPr algn="r">
              <a:defRPr sz="1300"/>
            </a:lvl1pPr>
          </a:lstStyle>
          <a:p>
            <a:fld id="{0F2728AD-B8FF-467B-AF5F-4891412E46D0}" type="datetimeFigureOut">
              <a:rPr lang="de-DE" smtClean="0"/>
              <a:t>20.0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49" tIns="47775" rIns="95549" bIns="4777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5549" tIns="47775" rIns="95549" bIns="47775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6"/>
            <a:ext cx="2945659" cy="498055"/>
          </a:xfrm>
          <a:prstGeom prst="rect">
            <a:avLst/>
          </a:prstGeom>
        </p:spPr>
        <p:txBody>
          <a:bodyPr vert="horz" lIns="95549" tIns="47775" rIns="95549" bIns="47775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6"/>
            <a:ext cx="2945659" cy="498055"/>
          </a:xfrm>
          <a:prstGeom prst="rect">
            <a:avLst/>
          </a:prstGeom>
        </p:spPr>
        <p:txBody>
          <a:bodyPr vert="horz" lIns="95549" tIns="47775" rIns="95549" bIns="47775" rtlCol="0" anchor="b"/>
          <a:lstStyle>
            <a:lvl1pPr algn="r">
              <a:defRPr sz="1300"/>
            </a:lvl1pPr>
          </a:lstStyle>
          <a:p>
            <a:fld id="{B9A045E6-D734-4DB2-BEE5-DF972DD20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502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061988-3118-414D-A571-26E5ECCCF07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77745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4230000"/>
            <a:ext cx="7560000" cy="324000"/>
          </a:xfrm>
        </p:spPr>
        <p:txBody>
          <a:bodyPr/>
          <a:lstStyle>
            <a:lvl1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1pPr>
            <a:lvl2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2pPr>
            <a:lvl3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3pPr>
            <a:lvl4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4pPr>
            <a:lvl5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5pPr>
            <a:lvl6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6pPr>
            <a:lvl7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7pPr>
            <a:lvl8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8pPr>
            <a:lvl9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468000" y="4680000"/>
            <a:ext cx="7560000" cy="144000"/>
          </a:xfrm>
        </p:spPr>
        <p:txBody>
          <a:bodyPr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0D81F06-1D47-4C44-8C29-89662B0E16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8000" y="3499200"/>
            <a:ext cx="2505600" cy="173898"/>
          </a:xfrm>
          <a:prstGeom prst="rect">
            <a:avLst/>
          </a:prstGeom>
        </p:spPr>
      </p:pic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84C7B36F-18FD-48F5-9A0D-FC40AEE68D0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-1"/>
            <a:ext cx="8182800" cy="3186000"/>
          </a:xfrm>
          <a:custGeom>
            <a:avLst/>
            <a:gdLst>
              <a:gd name="connsiteX0" fmla="*/ 0 w 8182800"/>
              <a:gd name="connsiteY0" fmla="*/ 0 h 3186000"/>
              <a:gd name="connsiteX1" fmla="*/ 8182800 w 8182800"/>
              <a:gd name="connsiteY1" fmla="*/ 0 h 3186000"/>
              <a:gd name="connsiteX2" fmla="*/ 8182800 w 8182800"/>
              <a:gd name="connsiteY2" fmla="*/ 1 h 3186000"/>
              <a:gd name="connsiteX3" fmla="*/ 7225201 w 8182800"/>
              <a:gd name="connsiteY3" fmla="*/ 1 h 3186000"/>
              <a:gd name="connsiteX4" fmla="*/ 7225201 w 8182800"/>
              <a:gd name="connsiteY4" fmla="*/ 1440001 h 3186000"/>
              <a:gd name="connsiteX5" fmla="*/ 8182800 w 8182800"/>
              <a:gd name="connsiteY5" fmla="*/ 1440001 h 3186000"/>
              <a:gd name="connsiteX6" fmla="*/ 8182800 w 8182800"/>
              <a:gd name="connsiteY6" fmla="*/ 3186000 h 3186000"/>
              <a:gd name="connsiteX7" fmla="*/ 0 w 8182800"/>
              <a:gd name="connsiteY7" fmla="*/ 3186000 h 31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82800" h="3186000">
                <a:moveTo>
                  <a:pt x="0" y="0"/>
                </a:moveTo>
                <a:lnTo>
                  <a:pt x="8182800" y="0"/>
                </a:lnTo>
                <a:lnTo>
                  <a:pt x="8182800" y="1"/>
                </a:lnTo>
                <a:lnTo>
                  <a:pt x="7225201" y="1"/>
                </a:lnTo>
                <a:lnTo>
                  <a:pt x="7225201" y="1440001"/>
                </a:lnTo>
                <a:lnTo>
                  <a:pt x="8182800" y="1440001"/>
                </a:lnTo>
                <a:lnTo>
                  <a:pt x="8182800" y="3186000"/>
                </a:lnTo>
                <a:lnTo>
                  <a:pt x="0" y="3186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28E9FB3-DC3C-4E55-9877-2DEEAAB329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25200" y="0"/>
            <a:ext cx="1440362" cy="1440000"/>
          </a:xfrm>
          <a:prstGeom prst="rect">
            <a:avLst/>
          </a:prstGeom>
        </p:spPr>
      </p:pic>
      <p:sp>
        <p:nvSpPr>
          <p:cNvPr id="23" name="Titel 22">
            <a:extLst>
              <a:ext uri="{FF2B5EF4-FFF2-40B4-BE49-F238E27FC236}">
                <a16:creationId xmlns:a16="http://schemas.microsoft.com/office/drawing/2014/main" id="{259FB325-4F00-4E24-9BB5-CBE59A8EE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895200"/>
            <a:ext cx="3527936" cy="324000"/>
          </a:xfrm>
        </p:spPr>
        <p:txBody>
          <a:bodyPr/>
          <a:lstStyle>
            <a:lvl1pPr>
              <a:lnSpc>
                <a:spcPts val="2500"/>
              </a:lnSpc>
              <a:defRPr cap="all" baseline="0"/>
            </a:lvl1pPr>
          </a:lstStyle>
          <a:p>
            <a:pPr lvl="0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A11C8C5-D6EB-4C5D-9539-1ADEFC0908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77199" y="3895200"/>
            <a:ext cx="2505600" cy="324000"/>
          </a:xfrm>
        </p:spPr>
        <p:txBody>
          <a:bodyPr anchor="ctr" anchorCtr="0"/>
          <a:lstStyle>
            <a:lvl1pPr algn="ctr">
              <a:defRPr sz="1050"/>
            </a:lvl1pPr>
          </a:lstStyle>
          <a:p>
            <a:r>
              <a:rPr lang="de-DE" dirty="0"/>
              <a:t>Logo auf Platzhalter ziehen</a:t>
            </a:r>
          </a:p>
        </p:txBody>
      </p:sp>
    </p:spTree>
    <p:extLst>
      <p:ext uri="{BB962C8B-B14F-4D97-AF65-F5344CB8AC3E}">
        <p14:creationId xmlns:p14="http://schemas.microsoft.com/office/powerpoint/2010/main" val="7225862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kl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0B3784F-BC20-4A45-986C-728B00F59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</p:spTree>
    <p:extLst>
      <p:ext uri="{BB962C8B-B14F-4D97-AF65-F5344CB8AC3E}">
        <p14:creationId xmlns:p14="http://schemas.microsoft.com/office/powerpoint/2010/main" val="4262250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  <p15:guide id="5" pos="2790">
          <p15:clr>
            <a:srgbClr val="FBAE40"/>
          </p15:clr>
        </p15:guide>
        <p15:guide id="6" pos="544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324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4000" y="954000"/>
            <a:ext cx="4536000" cy="3024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119991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83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50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 inkl. Bildunter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4104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0"/>
            <a:endParaRPr lang="de-DE" dirty="0"/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587194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 inkl. Bildunterzeile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20000" y="918000"/>
            <a:ext cx="342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0"/>
            <a:endParaRPr lang="de-DE" dirty="0"/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413746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22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80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80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56241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77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 userDrawn="1">
          <p15:clr>
            <a:srgbClr val="FBAE40"/>
          </p15:clr>
        </p15:guide>
        <p15:guide id="5" orient="horz" pos="2564" userDrawn="1">
          <p15:clr>
            <a:srgbClr val="FBAE40"/>
          </p15:clr>
        </p15:guide>
        <p15:guide id="6" orient="horz" pos="151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2 Bilder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40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98701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58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>
          <p15:clr>
            <a:srgbClr val="FBAE40"/>
          </p15:clr>
        </p15:guide>
        <p15:guide id="5" orient="horz" pos="2564">
          <p15:clr>
            <a:srgbClr val="FBAE40"/>
          </p15:clr>
        </p15:guide>
        <p15:guide id="6" orient="horz" pos="151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EIN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2F6D41-300A-44A6-A773-F84C7424C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5674647-E98A-4E91-B769-603FBD38F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36340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E7FEC2D-DBFC-481D-89EF-55316F02D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BC5583F-31A1-412C-900F-41106AD78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17796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orstell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912" y="0"/>
            <a:ext cx="2830680" cy="1698408"/>
          </a:xfrm>
          <a:prstGeom prst="rect">
            <a:avLst/>
          </a:prstGeom>
        </p:spPr>
      </p:pic>
      <p:sp>
        <p:nvSpPr>
          <p:cNvPr id="8" name="Bildplatzhalter 11"/>
          <p:cNvSpPr>
            <a:spLocks noGrp="1"/>
          </p:cNvSpPr>
          <p:nvPr>
            <p:ph type="pic" sz="quarter" idx="10"/>
          </p:nvPr>
        </p:nvSpPr>
        <p:spPr>
          <a:xfrm>
            <a:off x="-4834" y="-2989"/>
            <a:ext cx="9148810" cy="5148352"/>
          </a:xfrm>
          <a:custGeom>
            <a:avLst/>
            <a:gdLst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4500 w 8064500"/>
              <a:gd name="connsiteY2" fmla="*/ 4038600 h 4038600"/>
              <a:gd name="connsiteX3" fmla="*/ 0 w 8064500"/>
              <a:gd name="connsiteY3" fmla="*/ 4038600 h 4038600"/>
              <a:gd name="connsiteX4" fmla="*/ 0 w 8064500"/>
              <a:gd name="connsiteY4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719263 h 4038600"/>
              <a:gd name="connsiteX3" fmla="*/ 8064500 w 8064500"/>
              <a:gd name="connsiteY3" fmla="*/ 4038600 h 4038600"/>
              <a:gd name="connsiteX4" fmla="*/ 0 w 8064500"/>
              <a:gd name="connsiteY4" fmla="*/ 4038600 h 4038600"/>
              <a:gd name="connsiteX5" fmla="*/ 0 w 8064500"/>
              <a:gd name="connsiteY5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221581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669882 w 8064500"/>
              <a:gd name="connsiteY2" fmla="*/ 1909762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6256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24025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81775 w 8146275"/>
              <a:gd name="connsiteY0" fmla="*/ 0 h 4038600"/>
              <a:gd name="connsiteX1" fmla="*/ 6960412 w 8146275"/>
              <a:gd name="connsiteY1" fmla="*/ 0 h 4038600"/>
              <a:gd name="connsiteX2" fmla="*/ 6963588 w 8146275"/>
              <a:gd name="connsiteY2" fmla="*/ 1724025 h 4038600"/>
              <a:gd name="connsiteX3" fmla="*/ 8144688 w 8146275"/>
              <a:gd name="connsiteY3" fmla="*/ 1724025 h 4038600"/>
              <a:gd name="connsiteX4" fmla="*/ 8146275 w 8146275"/>
              <a:gd name="connsiteY4" fmla="*/ 4038600 h 4038600"/>
              <a:gd name="connsiteX5" fmla="*/ 0 w 8146275"/>
              <a:gd name="connsiteY5" fmla="*/ 4038600 h 4038600"/>
              <a:gd name="connsiteX6" fmla="*/ 81775 w 8146275"/>
              <a:gd name="connsiteY6" fmla="*/ 0 h 4038600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1459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9524 w 8155800"/>
              <a:gd name="connsiteY0" fmla="*/ 0 h 6093909"/>
              <a:gd name="connsiteX1" fmla="*/ 6969937 w 8155800"/>
              <a:gd name="connsiteY1" fmla="*/ 7434 h 6093909"/>
              <a:gd name="connsiteX2" fmla="*/ 6973113 w 8155800"/>
              <a:gd name="connsiteY2" fmla="*/ 1731459 h 6093909"/>
              <a:gd name="connsiteX3" fmla="*/ 8154213 w 8155800"/>
              <a:gd name="connsiteY3" fmla="*/ 1731459 h 6093909"/>
              <a:gd name="connsiteX4" fmla="*/ 8155800 w 8155800"/>
              <a:gd name="connsiteY4" fmla="*/ 4046034 h 6093909"/>
              <a:gd name="connsiteX5" fmla="*/ 0 w 8155800"/>
              <a:gd name="connsiteY5" fmla="*/ 6093909 h 6093909"/>
              <a:gd name="connsiteX6" fmla="*/ 9524 w 8155800"/>
              <a:gd name="connsiteY6" fmla="*/ 0 h 6093909"/>
              <a:gd name="connsiteX0" fmla="*/ 9524 w 8165325"/>
              <a:gd name="connsiteY0" fmla="*/ 0 h 6103434"/>
              <a:gd name="connsiteX1" fmla="*/ 6969937 w 8165325"/>
              <a:gd name="connsiteY1" fmla="*/ 7434 h 6103434"/>
              <a:gd name="connsiteX2" fmla="*/ 6973113 w 8165325"/>
              <a:gd name="connsiteY2" fmla="*/ 1731459 h 6103434"/>
              <a:gd name="connsiteX3" fmla="*/ 8154213 w 8165325"/>
              <a:gd name="connsiteY3" fmla="*/ 1731459 h 6103434"/>
              <a:gd name="connsiteX4" fmla="*/ 8165325 w 8165325"/>
              <a:gd name="connsiteY4" fmla="*/ 6103434 h 6103434"/>
              <a:gd name="connsiteX5" fmla="*/ 0 w 8165325"/>
              <a:gd name="connsiteY5" fmla="*/ 6093909 h 6103434"/>
              <a:gd name="connsiteX6" fmla="*/ 9524 w 8165325"/>
              <a:gd name="connsiteY6" fmla="*/ 0 h 6103434"/>
              <a:gd name="connsiteX0" fmla="*/ 9524 w 8694213"/>
              <a:gd name="connsiteY0" fmla="*/ 0 h 6103434"/>
              <a:gd name="connsiteX1" fmla="*/ 6969937 w 8694213"/>
              <a:gd name="connsiteY1" fmla="*/ 7434 h 6103434"/>
              <a:gd name="connsiteX2" fmla="*/ 6973113 w 8694213"/>
              <a:gd name="connsiteY2" fmla="*/ 1731459 h 6103434"/>
              <a:gd name="connsiteX3" fmla="*/ 8694213 w 8694213"/>
              <a:gd name="connsiteY3" fmla="*/ 1731459 h 6103434"/>
              <a:gd name="connsiteX4" fmla="*/ 8165325 w 8694213"/>
              <a:gd name="connsiteY4" fmla="*/ 6103434 h 6103434"/>
              <a:gd name="connsiteX5" fmla="*/ 0 w 8694213"/>
              <a:gd name="connsiteY5" fmla="*/ 6093909 h 6103434"/>
              <a:gd name="connsiteX6" fmla="*/ 9524 w 8694213"/>
              <a:gd name="connsiteY6" fmla="*/ 0 h 6103434"/>
              <a:gd name="connsiteX0" fmla="*/ 9524 w 8891427"/>
              <a:gd name="connsiteY0" fmla="*/ 0 h 6103434"/>
              <a:gd name="connsiteX1" fmla="*/ 6969937 w 8891427"/>
              <a:gd name="connsiteY1" fmla="*/ 7434 h 6103434"/>
              <a:gd name="connsiteX2" fmla="*/ 6973113 w 8891427"/>
              <a:gd name="connsiteY2" fmla="*/ 1731459 h 6103434"/>
              <a:gd name="connsiteX3" fmla="*/ 8694213 w 8891427"/>
              <a:gd name="connsiteY3" fmla="*/ 1731459 h 6103434"/>
              <a:gd name="connsiteX4" fmla="*/ 8889495 w 8891427"/>
              <a:gd name="connsiteY4" fmla="*/ 597833 h 6103434"/>
              <a:gd name="connsiteX5" fmla="*/ 8165325 w 8891427"/>
              <a:gd name="connsiteY5" fmla="*/ 6103434 h 6103434"/>
              <a:gd name="connsiteX6" fmla="*/ 0 w 8891427"/>
              <a:gd name="connsiteY6" fmla="*/ 6093909 h 6103434"/>
              <a:gd name="connsiteX7" fmla="*/ 9524 w 8891427"/>
              <a:gd name="connsiteY7" fmla="*/ 0 h 6103434"/>
              <a:gd name="connsiteX0" fmla="*/ 9524 w 8929879"/>
              <a:gd name="connsiteY0" fmla="*/ 0 h 6103434"/>
              <a:gd name="connsiteX1" fmla="*/ 6969937 w 8929879"/>
              <a:gd name="connsiteY1" fmla="*/ 7434 h 6103434"/>
              <a:gd name="connsiteX2" fmla="*/ 6973113 w 8929879"/>
              <a:gd name="connsiteY2" fmla="*/ 1731459 h 6103434"/>
              <a:gd name="connsiteX3" fmla="*/ 8694213 w 8929879"/>
              <a:gd name="connsiteY3" fmla="*/ 1731459 h 6103434"/>
              <a:gd name="connsiteX4" fmla="*/ 8889495 w 8929879"/>
              <a:gd name="connsiteY4" fmla="*/ 597833 h 6103434"/>
              <a:gd name="connsiteX5" fmla="*/ 8165325 w 8929879"/>
              <a:gd name="connsiteY5" fmla="*/ 6103434 h 6103434"/>
              <a:gd name="connsiteX6" fmla="*/ 0 w 8929879"/>
              <a:gd name="connsiteY6" fmla="*/ 6093909 h 6103434"/>
              <a:gd name="connsiteX7" fmla="*/ 9524 w 8929879"/>
              <a:gd name="connsiteY7" fmla="*/ 0 h 6103434"/>
              <a:gd name="connsiteX0" fmla="*/ 9524 w 8954130"/>
              <a:gd name="connsiteY0" fmla="*/ 0 h 6103434"/>
              <a:gd name="connsiteX1" fmla="*/ 6969937 w 8954130"/>
              <a:gd name="connsiteY1" fmla="*/ 7434 h 6103434"/>
              <a:gd name="connsiteX2" fmla="*/ 6973113 w 8954130"/>
              <a:gd name="connsiteY2" fmla="*/ 1731459 h 6103434"/>
              <a:gd name="connsiteX3" fmla="*/ 8694213 w 8954130"/>
              <a:gd name="connsiteY3" fmla="*/ 1731459 h 6103434"/>
              <a:gd name="connsiteX4" fmla="*/ 8889495 w 8954130"/>
              <a:gd name="connsiteY4" fmla="*/ 597833 h 6103434"/>
              <a:gd name="connsiteX5" fmla="*/ 8165325 w 8954130"/>
              <a:gd name="connsiteY5" fmla="*/ 6103434 h 6103434"/>
              <a:gd name="connsiteX6" fmla="*/ 0 w 8954130"/>
              <a:gd name="connsiteY6" fmla="*/ 6093909 h 6103434"/>
              <a:gd name="connsiteX7" fmla="*/ 9524 w 8954130"/>
              <a:gd name="connsiteY7" fmla="*/ 0 h 6103434"/>
              <a:gd name="connsiteX0" fmla="*/ 9524 w 8889495"/>
              <a:gd name="connsiteY0" fmla="*/ 0 h 6103434"/>
              <a:gd name="connsiteX1" fmla="*/ 6969937 w 8889495"/>
              <a:gd name="connsiteY1" fmla="*/ 7434 h 6103434"/>
              <a:gd name="connsiteX2" fmla="*/ 6973113 w 8889495"/>
              <a:gd name="connsiteY2" fmla="*/ 1731459 h 6103434"/>
              <a:gd name="connsiteX3" fmla="*/ 8694213 w 8889495"/>
              <a:gd name="connsiteY3" fmla="*/ 1731459 h 6103434"/>
              <a:gd name="connsiteX4" fmla="*/ 8889495 w 8889495"/>
              <a:gd name="connsiteY4" fmla="*/ 597833 h 6103434"/>
              <a:gd name="connsiteX5" fmla="*/ 8165325 w 8889495"/>
              <a:gd name="connsiteY5" fmla="*/ 6103434 h 6103434"/>
              <a:gd name="connsiteX6" fmla="*/ 0 w 8889495"/>
              <a:gd name="connsiteY6" fmla="*/ 6093909 h 6103434"/>
              <a:gd name="connsiteX7" fmla="*/ 9524 w 8889495"/>
              <a:gd name="connsiteY7" fmla="*/ 0 h 6103434"/>
              <a:gd name="connsiteX0" fmla="*/ 9524 w 8914544"/>
              <a:gd name="connsiteY0" fmla="*/ 0 h 6103434"/>
              <a:gd name="connsiteX1" fmla="*/ 6969937 w 8914544"/>
              <a:gd name="connsiteY1" fmla="*/ 7434 h 6103434"/>
              <a:gd name="connsiteX2" fmla="*/ 6973113 w 8914544"/>
              <a:gd name="connsiteY2" fmla="*/ 1731459 h 6103434"/>
              <a:gd name="connsiteX3" fmla="*/ 8694213 w 8914544"/>
              <a:gd name="connsiteY3" fmla="*/ 1731459 h 6103434"/>
              <a:gd name="connsiteX4" fmla="*/ 8889495 w 8914544"/>
              <a:gd name="connsiteY4" fmla="*/ 597833 h 6103434"/>
              <a:gd name="connsiteX5" fmla="*/ 8165325 w 8914544"/>
              <a:gd name="connsiteY5" fmla="*/ 6103434 h 6103434"/>
              <a:gd name="connsiteX6" fmla="*/ 0 w 8914544"/>
              <a:gd name="connsiteY6" fmla="*/ 6093909 h 6103434"/>
              <a:gd name="connsiteX7" fmla="*/ 9524 w 8914544"/>
              <a:gd name="connsiteY7" fmla="*/ 0 h 6103434"/>
              <a:gd name="connsiteX0" fmla="*/ 9524 w 8837102"/>
              <a:gd name="connsiteY0" fmla="*/ 0 h 6103434"/>
              <a:gd name="connsiteX1" fmla="*/ 6969937 w 8837102"/>
              <a:gd name="connsiteY1" fmla="*/ 7434 h 6103434"/>
              <a:gd name="connsiteX2" fmla="*/ 6973113 w 8837102"/>
              <a:gd name="connsiteY2" fmla="*/ 1731459 h 6103434"/>
              <a:gd name="connsiteX3" fmla="*/ 8694213 w 8837102"/>
              <a:gd name="connsiteY3" fmla="*/ 1731459 h 6103434"/>
              <a:gd name="connsiteX4" fmla="*/ 8695095 w 8837102"/>
              <a:gd name="connsiteY4" fmla="*/ 29033 h 6103434"/>
              <a:gd name="connsiteX5" fmla="*/ 8165325 w 8837102"/>
              <a:gd name="connsiteY5" fmla="*/ 6103434 h 6103434"/>
              <a:gd name="connsiteX6" fmla="*/ 0 w 8837102"/>
              <a:gd name="connsiteY6" fmla="*/ 6093909 h 6103434"/>
              <a:gd name="connsiteX7" fmla="*/ 9524 w 8837102"/>
              <a:gd name="connsiteY7" fmla="*/ 0 h 6103434"/>
              <a:gd name="connsiteX0" fmla="*/ 9524 w 8970194"/>
              <a:gd name="connsiteY0" fmla="*/ 107230 h 6210664"/>
              <a:gd name="connsiteX1" fmla="*/ 6969937 w 8970194"/>
              <a:gd name="connsiteY1" fmla="*/ 114664 h 6210664"/>
              <a:gd name="connsiteX2" fmla="*/ 6973113 w 8970194"/>
              <a:gd name="connsiteY2" fmla="*/ 1838689 h 6210664"/>
              <a:gd name="connsiteX3" fmla="*/ 8694213 w 8970194"/>
              <a:gd name="connsiteY3" fmla="*/ 1838689 h 6210664"/>
              <a:gd name="connsiteX4" fmla="*/ 8695095 w 8970194"/>
              <a:gd name="connsiteY4" fmla="*/ 136263 h 6210664"/>
              <a:gd name="connsiteX5" fmla="*/ 8165325 w 8970194"/>
              <a:gd name="connsiteY5" fmla="*/ 6210664 h 6210664"/>
              <a:gd name="connsiteX6" fmla="*/ 0 w 8970194"/>
              <a:gd name="connsiteY6" fmla="*/ 6201139 h 6210664"/>
              <a:gd name="connsiteX7" fmla="*/ 9524 w 8970194"/>
              <a:gd name="connsiteY7" fmla="*/ 107230 h 6210664"/>
              <a:gd name="connsiteX0" fmla="*/ 9524 w 8734141"/>
              <a:gd name="connsiteY0" fmla="*/ 157774 h 6261208"/>
              <a:gd name="connsiteX1" fmla="*/ 6969937 w 8734141"/>
              <a:gd name="connsiteY1" fmla="*/ 165208 h 6261208"/>
              <a:gd name="connsiteX2" fmla="*/ 6973113 w 8734141"/>
              <a:gd name="connsiteY2" fmla="*/ 1889233 h 6261208"/>
              <a:gd name="connsiteX3" fmla="*/ 8694213 w 8734141"/>
              <a:gd name="connsiteY3" fmla="*/ 1889233 h 6261208"/>
              <a:gd name="connsiteX4" fmla="*/ 8695095 w 8734141"/>
              <a:gd name="connsiteY4" fmla="*/ 186807 h 6261208"/>
              <a:gd name="connsiteX5" fmla="*/ 8165325 w 8734141"/>
              <a:gd name="connsiteY5" fmla="*/ 6261208 h 6261208"/>
              <a:gd name="connsiteX6" fmla="*/ 0 w 8734141"/>
              <a:gd name="connsiteY6" fmla="*/ 6251683 h 6261208"/>
              <a:gd name="connsiteX7" fmla="*/ 9524 w 8734141"/>
              <a:gd name="connsiteY7" fmla="*/ 157774 h 6261208"/>
              <a:gd name="connsiteX0" fmla="*/ 9524 w 8695095"/>
              <a:gd name="connsiteY0" fmla="*/ 0 h 6103434"/>
              <a:gd name="connsiteX1" fmla="*/ 6969937 w 8695095"/>
              <a:gd name="connsiteY1" fmla="*/ 7434 h 6103434"/>
              <a:gd name="connsiteX2" fmla="*/ 6973113 w 8695095"/>
              <a:gd name="connsiteY2" fmla="*/ 1731459 h 6103434"/>
              <a:gd name="connsiteX3" fmla="*/ 8694213 w 8695095"/>
              <a:gd name="connsiteY3" fmla="*/ 1731459 h 6103434"/>
              <a:gd name="connsiteX4" fmla="*/ 8695095 w 8695095"/>
              <a:gd name="connsiteY4" fmla="*/ 29033 h 6103434"/>
              <a:gd name="connsiteX5" fmla="*/ 8165325 w 8695095"/>
              <a:gd name="connsiteY5" fmla="*/ 6103434 h 6103434"/>
              <a:gd name="connsiteX6" fmla="*/ 0 w 8695095"/>
              <a:gd name="connsiteY6" fmla="*/ 6093909 h 6103434"/>
              <a:gd name="connsiteX7" fmla="*/ 9524 w 8695095"/>
              <a:gd name="connsiteY7" fmla="*/ 0 h 6103434"/>
              <a:gd name="connsiteX0" fmla="*/ 9524 w 8954978"/>
              <a:gd name="connsiteY0" fmla="*/ 0 h 6103434"/>
              <a:gd name="connsiteX1" fmla="*/ 6969937 w 8954978"/>
              <a:gd name="connsiteY1" fmla="*/ 7434 h 6103434"/>
              <a:gd name="connsiteX2" fmla="*/ 6973113 w 8954978"/>
              <a:gd name="connsiteY2" fmla="*/ 1731459 h 6103434"/>
              <a:gd name="connsiteX3" fmla="*/ 8694213 w 8954978"/>
              <a:gd name="connsiteY3" fmla="*/ 1731459 h 6103434"/>
              <a:gd name="connsiteX4" fmla="*/ 8695095 w 8954978"/>
              <a:gd name="connsiteY4" fmla="*/ 29033 h 6103434"/>
              <a:gd name="connsiteX5" fmla="*/ 8947095 w 8954978"/>
              <a:gd name="connsiteY5" fmla="*/ 2318633 h 6103434"/>
              <a:gd name="connsiteX6" fmla="*/ 8165325 w 8954978"/>
              <a:gd name="connsiteY6" fmla="*/ 6103434 h 6103434"/>
              <a:gd name="connsiteX7" fmla="*/ 0 w 8954978"/>
              <a:gd name="connsiteY7" fmla="*/ 6093909 h 6103434"/>
              <a:gd name="connsiteX8" fmla="*/ 9524 w 8954978"/>
              <a:gd name="connsiteY8" fmla="*/ 0 h 6103434"/>
              <a:gd name="connsiteX0" fmla="*/ 9524 w 8947095"/>
              <a:gd name="connsiteY0" fmla="*/ 0 h 6103434"/>
              <a:gd name="connsiteX1" fmla="*/ 6969937 w 8947095"/>
              <a:gd name="connsiteY1" fmla="*/ 7434 h 6103434"/>
              <a:gd name="connsiteX2" fmla="*/ 6973113 w 8947095"/>
              <a:gd name="connsiteY2" fmla="*/ 1731459 h 6103434"/>
              <a:gd name="connsiteX3" fmla="*/ 8694213 w 8947095"/>
              <a:gd name="connsiteY3" fmla="*/ 1731459 h 6103434"/>
              <a:gd name="connsiteX4" fmla="*/ 8695095 w 8947095"/>
              <a:gd name="connsiteY4" fmla="*/ 29033 h 6103434"/>
              <a:gd name="connsiteX5" fmla="*/ 8947095 w 8947095"/>
              <a:gd name="connsiteY5" fmla="*/ 2318633 h 6103434"/>
              <a:gd name="connsiteX6" fmla="*/ 8165325 w 8947095"/>
              <a:gd name="connsiteY6" fmla="*/ 6103434 h 6103434"/>
              <a:gd name="connsiteX7" fmla="*/ 0 w 8947095"/>
              <a:gd name="connsiteY7" fmla="*/ 6093909 h 6103434"/>
              <a:gd name="connsiteX8" fmla="*/ 9524 w 8947095"/>
              <a:gd name="connsiteY8" fmla="*/ 0 h 6103434"/>
              <a:gd name="connsiteX0" fmla="*/ 9524 w 9141495"/>
              <a:gd name="connsiteY0" fmla="*/ 358826 h 6462260"/>
              <a:gd name="connsiteX1" fmla="*/ 6969937 w 9141495"/>
              <a:gd name="connsiteY1" fmla="*/ 366260 h 6462260"/>
              <a:gd name="connsiteX2" fmla="*/ 6973113 w 9141495"/>
              <a:gd name="connsiteY2" fmla="*/ 2090285 h 6462260"/>
              <a:gd name="connsiteX3" fmla="*/ 8694213 w 9141495"/>
              <a:gd name="connsiteY3" fmla="*/ 2090285 h 6462260"/>
              <a:gd name="connsiteX4" fmla="*/ 8695095 w 9141495"/>
              <a:gd name="connsiteY4" fmla="*/ 387859 h 6462260"/>
              <a:gd name="connsiteX5" fmla="*/ 9141495 w 9141495"/>
              <a:gd name="connsiteY5" fmla="*/ 373459 h 6462260"/>
              <a:gd name="connsiteX6" fmla="*/ 8165325 w 9141495"/>
              <a:gd name="connsiteY6" fmla="*/ 6462260 h 6462260"/>
              <a:gd name="connsiteX7" fmla="*/ 0 w 9141495"/>
              <a:gd name="connsiteY7" fmla="*/ 6452735 h 6462260"/>
              <a:gd name="connsiteX8" fmla="*/ 9524 w 9141495"/>
              <a:gd name="connsiteY8" fmla="*/ 358826 h 6462260"/>
              <a:gd name="connsiteX0" fmla="*/ 9524 w 9141495"/>
              <a:gd name="connsiteY0" fmla="*/ 492044 h 6595478"/>
              <a:gd name="connsiteX1" fmla="*/ 6969937 w 9141495"/>
              <a:gd name="connsiteY1" fmla="*/ 499478 h 6595478"/>
              <a:gd name="connsiteX2" fmla="*/ 6973113 w 9141495"/>
              <a:gd name="connsiteY2" fmla="*/ 2223503 h 6595478"/>
              <a:gd name="connsiteX3" fmla="*/ 8694213 w 9141495"/>
              <a:gd name="connsiteY3" fmla="*/ 2223503 h 6595478"/>
              <a:gd name="connsiteX4" fmla="*/ 8695095 w 9141495"/>
              <a:gd name="connsiteY4" fmla="*/ 521077 h 6595478"/>
              <a:gd name="connsiteX5" fmla="*/ 9141495 w 9141495"/>
              <a:gd name="connsiteY5" fmla="*/ 506677 h 6595478"/>
              <a:gd name="connsiteX6" fmla="*/ 8165325 w 9141495"/>
              <a:gd name="connsiteY6" fmla="*/ 6595478 h 6595478"/>
              <a:gd name="connsiteX7" fmla="*/ 0 w 9141495"/>
              <a:gd name="connsiteY7" fmla="*/ 6585953 h 6595478"/>
              <a:gd name="connsiteX8" fmla="*/ 9524 w 9141495"/>
              <a:gd name="connsiteY8" fmla="*/ 492044 h 6595478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5095 w 9141495"/>
              <a:gd name="connsiteY4" fmla="*/ 29033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2714 w 9141495"/>
              <a:gd name="connsiteY4" fmla="*/ 7602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4213 w 9160545"/>
              <a:gd name="connsiteY3" fmla="*/ 1731459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1832 w 9160545"/>
              <a:gd name="connsiteY3" fmla="*/ 1733840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3069"/>
              <a:gd name="connsiteY0" fmla="*/ 0 h 6105816"/>
              <a:gd name="connsiteX1" fmla="*/ 6969937 w 9163069"/>
              <a:gd name="connsiteY1" fmla="*/ 7434 h 6105816"/>
              <a:gd name="connsiteX2" fmla="*/ 6973113 w 9163069"/>
              <a:gd name="connsiteY2" fmla="*/ 1731459 h 6105816"/>
              <a:gd name="connsiteX3" fmla="*/ 8691832 w 9163069"/>
              <a:gd name="connsiteY3" fmla="*/ 1733840 h 6105816"/>
              <a:gd name="connsiteX4" fmla="*/ 8692714 w 9163069"/>
              <a:gd name="connsiteY4" fmla="*/ 7602 h 6105816"/>
              <a:gd name="connsiteX5" fmla="*/ 9160545 w 9163069"/>
              <a:gd name="connsiteY5" fmla="*/ 7489 h 6105816"/>
              <a:gd name="connsiteX6" fmla="*/ 9163069 w 9163069"/>
              <a:gd name="connsiteY6" fmla="*/ 6105816 h 6105816"/>
              <a:gd name="connsiteX7" fmla="*/ 0 w 9163069"/>
              <a:gd name="connsiteY7" fmla="*/ 6093909 h 6105816"/>
              <a:gd name="connsiteX8" fmla="*/ 9524 w 9163069"/>
              <a:gd name="connsiteY8" fmla="*/ 0 h 6105816"/>
              <a:gd name="connsiteX0" fmla="*/ 9524 w 9163069"/>
              <a:gd name="connsiteY0" fmla="*/ 0 h 6166776"/>
              <a:gd name="connsiteX1" fmla="*/ 6969937 w 9163069"/>
              <a:gd name="connsiteY1" fmla="*/ 7434 h 6166776"/>
              <a:gd name="connsiteX2" fmla="*/ 6973113 w 9163069"/>
              <a:gd name="connsiteY2" fmla="*/ 1731459 h 6166776"/>
              <a:gd name="connsiteX3" fmla="*/ 8691832 w 9163069"/>
              <a:gd name="connsiteY3" fmla="*/ 1733840 h 6166776"/>
              <a:gd name="connsiteX4" fmla="*/ 8692714 w 9163069"/>
              <a:gd name="connsiteY4" fmla="*/ 7602 h 6166776"/>
              <a:gd name="connsiteX5" fmla="*/ 9160545 w 9163069"/>
              <a:gd name="connsiteY5" fmla="*/ 7489 h 6166776"/>
              <a:gd name="connsiteX6" fmla="*/ 9163069 w 9163069"/>
              <a:gd name="connsiteY6" fmla="*/ 6166776 h 6166776"/>
              <a:gd name="connsiteX7" fmla="*/ 0 w 9163069"/>
              <a:gd name="connsiteY7" fmla="*/ 6093909 h 6166776"/>
              <a:gd name="connsiteX8" fmla="*/ 9524 w 9163069"/>
              <a:gd name="connsiteY8" fmla="*/ 0 h 6166776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17144 w 4659649"/>
              <a:gd name="connsiteY0" fmla="*/ 0 h 6170109"/>
              <a:gd name="connsiteX1" fmla="*/ 2466517 w 4659649"/>
              <a:gd name="connsiteY1" fmla="*/ 7434 h 6170109"/>
              <a:gd name="connsiteX2" fmla="*/ 2469693 w 4659649"/>
              <a:gd name="connsiteY2" fmla="*/ 1731459 h 6170109"/>
              <a:gd name="connsiteX3" fmla="*/ 4188412 w 4659649"/>
              <a:gd name="connsiteY3" fmla="*/ 1733840 h 6170109"/>
              <a:gd name="connsiteX4" fmla="*/ 4189294 w 4659649"/>
              <a:gd name="connsiteY4" fmla="*/ 7602 h 6170109"/>
              <a:gd name="connsiteX5" fmla="*/ 4657125 w 4659649"/>
              <a:gd name="connsiteY5" fmla="*/ 7489 h 6170109"/>
              <a:gd name="connsiteX6" fmla="*/ 4659649 w 4659649"/>
              <a:gd name="connsiteY6" fmla="*/ 6166776 h 6170109"/>
              <a:gd name="connsiteX7" fmla="*/ 0 w 4659649"/>
              <a:gd name="connsiteY7" fmla="*/ 6170109 h 6170109"/>
              <a:gd name="connsiteX8" fmla="*/ 17144 w 4659649"/>
              <a:gd name="connsiteY8" fmla="*/ 0 h 6170109"/>
              <a:gd name="connsiteX0" fmla="*/ 786764 w 5429269"/>
              <a:gd name="connsiteY0" fmla="*/ 0 h 6695889"/>
              <a:gd name="connsiteX1" fmla="*/ 3236137 w 5429269"/>
              <a:gd name="connsiteY1" fmla="*/ 7434 h 6695889"/>
              <a:gd name="connsiteX2" fmla="*/ 3239313 w 5429269"/>
              <a:gd name="connsiteY2" fmla="*/ 1731459 h 6695889"/>
              <a:gd name="connsiteX3" fmla="*/ 4958032 w 5429269"/>
              <a:gd name="connsiteY3" fmla="*/ 1733840 h 6695889"/>
              <a:gd name="connsiteX4" fmla="*/ 4958914 w 5429269"/>
              <a:gd name="connsiteY4" fmla="*/ 7602 h 6695889"/>
              <a:gd name="connsiteX5" fmla="*/ 5426745 w 5429269"/>
              <a:gd name="connsiteY5" fmla="*/ 7489 h 6695889"/>
              <a:gd name="connsiteX6" fmla="*/ 5429269 w 5429269"/>
              <a:gd name="connsiteY6" fmla="*/ 6166776 h 6695889"/>
              <a:gd name="connsiteX7" fmla="*/ 0 w 5429269"/>
              <a:gd name="connsiteY7" fmla="*/ 6695889 h 6695889"/>
              <a:gd name="connsiteX8" fmla="*/ 786764 w 5429269"/>
              <a:gd name="connsiteY8" fmla="*/ 0 h 669588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15934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86038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0 w 5595005"/>
              <a:gd name="connsiteY0" fmla="*/ 186 h 6863715"/>
              <a:gd name="connsiteX1" fmla="*/ 3401873 w 5595005"/>
              <a:gd name="connsiteY1" fmla="*/ 0 h 6863715"/>
              <a:gd name="connsiteX2" fmla="*/ 3405049 w 5595005"/>
              <a:gd name="connsiteY2" fmla="*/ 1724025 h 6863715"/>
              <a:gd name="connsiteX3" fmla="*/ 5123768 w 5595005"/>
              <a:gd name="connsiteY3" fmla="*/ 1726406 h 6863715"/>
              <a:gd name="connsiteX4" fmla="*/ 5124650 w 5595005"/>
              <a:gd name="connsiteY4" fmla="*/ 168 h 6863715"/>
              <a:gd name="connsiteX5" fmla="*/ 5592481 w 5595005"/>
              <a:gd name="connsiteY5" fmla="*/ 55 h 6863715"/>
              <a:gd name="connsiteX6" fmla="*/ 5595005 w 5595005"/>
              <a:gd name="connsiteY6" fmla="*/ 6860382 h 6863715"/>
              <a:gd name="connsiteX7" fmla="*/ 5716 w 5595005"/>
              <a:gd name="connsiteY7" fmla="*/ 6863715 h 6863715"/>
              <a:gd name="connsiteX8" fmla="*/ 0 w 5595005"/>
              <a:gd name="connsiteY8" fmla="*/ 186 h 6863715"/>
              <a:gd name="connsiteX0" fmla="*/ 1076327 w 5589292"/>
              <a:gd name="connsiteY0" fmla="*/ 186 h 6863715"/>
              <a:gd name="connsiteX1" fmla="*/ 3396160 w 5589292"/>
              <a:gd name="connsiteY1" fmla="*/ 0 h 6863715"/>
              <a:gd name="connsiteX2" fmla="*/ 3399336 w 5589292"/>
              <a:gd name="connsiteY2" fmla="*/ 1724025 h 6863715"/>
              <a:gd name="connsiteX3" fmla="*/ 5118055 w 5589292"/>
              <a:gd name="connsiteY3" fmla="*/ 1726406 h 6863715"/>
              <a:gd name="connsiteX4" fmla="*/ 5118937 w 5589292"/>
              <a:gd name="connsiteY4" fmla="*/ 168 h 6863715"/>
              <a:gd name="connsiteX5" fmla="*/ 5586768 w 5589292"/>
              <a:gd name="connsiteY5" fmla="*/ 55 h 6863715"/>
              <a:gd name="connsiteX6" fmla="*/ 5589292 w 5589292"/>
              <a:gd name="connsiteY6" fmla="*/ 6860382 h 6863715"/>
              <a:gd name="connsiteX7" fmla="*/ 3 w 5589292"/>
              <a:gd name="connsiteY7" fmla="*/ 6863715 h 6863715"/>
              <a:gd name="connsiteX8" fmla="*/ 1076327 w 5589292"/>
              <a:gd name="connsiteY8" fmla="*/ 186 h 6863715"/>
              <a:gd name="connsiteX0" fmla="*/ 0 w 4512965"/>
              <a:gd name="connsiteY0" fmla="*/ 186 h 6860382"/>
              <a:gd name="connsiteX1" fmla="*/ 2319833 w 4512965"/>
              <a:gd name="connsiteY1" fmla="*/ 0 h 6860382"/>
              <a:gd name="connsiteX2" fmla="*/ 2323009 w 4512965"/>
              <a:gd name="connsiteY2" fmla="*/ 1724025 h 6860382"/>
              <a:gd name="connsiteX3" fmla="*/ 4041728 w 4512965"/>
              <a:gd name="connsiteY3" fmla="*/ 1726406 h 6860382"/>
              <a:gd name="connsiteX4" fmla="*/ 4042610 w 4512965"/>
              <a:gd name="connsiteY4" fmla="*/ 168 h 6860382"/>
              <a:gd name="connsiteX5" fmla="*/ 4510441 w 4512965"/>
              <a:gd name="connsiteY5" fmla="*/ 55 h 6860382"/>
              <a:gd name="connsiteX6" fmla="*/ 4512965 w 4512965"/>
              <a:gd name="connsiteY6" fmla="*/ 6860382 h 6860382"/>
              <a:gd name="connsiteX7" fmla="*/ 5716 w 4512965"/>
              <a:gd name="connsiteY7" fmla="*/ 6856095 h 6860382"/>
              <a:gd name="connsiteX8" fmla="*/ 0 w 4512965"/>
              <a:gd name="connsiteY8" fmla="*/ 186 h 6860382"/>
              <a:gd name="connsiteX0" fmla="*/ 0 w 4512965"/>
              <a:gd name="connsiteY0" fmla="*/ 186 h 6871335"/>
              <a:gd name="connsiteX1" fmla="*/ 2319833 w 4512965"/>
              <a:gd name="connsiteY1" fmla="*/ 0 h 6871335"/>
              <a:gd name="connsiteX2" fmla="*/ 2323009 w 4512965"/>
              <a:gd name="connsiteY2" fmla="*/ 1724025 h 6871335"/>
              <a:gd name="connsiteX3" fmla="*/ 4041728 w 4512965"/>
              <a:gd name="connsiteY3" fmla="*/ 1726406 h 6871335"/>
              <a:gd name="connsiteX4" fmla="*/ 4042610 w 4512965"/>
              <a:gd name="connsiteY4" fmla="*/ 168 h 6871335"/>
              <a:gd name="connsiteX5" fmla="*/ 4510441 w 4512965"/>
              <a:gd name="connsiteY5" fmla="*/ 55 h 6871335"/>
              <a:gd name="connsiteX6" fmla="*/ 4512965 w 4512965"/>
              <a:gd name="connsiteY6" fmla="*/ 6860382 h 6871335"/>
              <a:gd name="connsiteX7" fmla="*/ 13336 w 4512965"/>
              <a:gd name="connsiteY7" fmla="*/ 6871335 h 6871335"/>
              <a:gd name="connsiteX8" fmla="*/ 0 w 4512965"/>
              <a:gd name="connsiteY8" fmla="*/ 186 h 687133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92711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0540"/>
              <a:gd name="connsiteX1" fmla="*/ 2319833 w 4512965"/>
              <a:gd name="connsiteY1" fmla="*/ 0 h 6860540"/>
              <a:gd name="connsiteX2" fmla="*/ 2323009 w 4512965"/>
              <a:gd name="connsiteY2" fmla="*/ 1724025 h 6860540"/>
              <a:gd name="connsiteX3" fmla="*/ 4041728 w 4512965"/>
              <a:gd name="connsiteY3" fmla="*/ 1726406 h 6860540"/>
              <a:gd name="connsiteX4" fmla="*/ 4042610 w 4512965"/>
              <a:gd name="connsiteY4" fmla="*/ 168 h 6860540"/>
              <a:gd name="connsiteX5" fmla="*/ 4510441 w 4512965"/>
              <a:gd name="connsiteY5" fmla="*/ 55 h 6860540"/>
              <a:gd name="connsiteX6" fmla="*/ 4512965 w 4512965"/>
              <a:gd name="connsiteY6" fmla="*/ 6860382 h 6860540"/>
              <a:gd name="connsiteX7" fmla="*/ 10161 w 4512965"/>
              <a:gd name="connsiteY7" fmla="*/ 6860540 h 6860540"/>
              <a:gd name="connsiteX8" fmla="*/ 0 w 4512965"/>
              <a:gd name="connsiteY8" fmla="*/ 186 h 6860540"/>
              <a:gd name="connsiteX0" fmla="*/ 5714 w 4502804"/>
              <a:gd name="connsiteY0" fmla="*/ 186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5714 w 4502804"/>
              <a:gd name="connsiteY8" fmla="*/ 186 h 6860540"/>
              <a:gd name="connsiteX0" fmla="*/ 380364 w 4502804"/>
              <a:gd name="connsiteY0" fmla="*/ 238311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380364 w 4502804"/>
              <a:gd name="connsiteY8" fmla="*/ 238311 h 6860540"/>
              <a:gd name="connsiteX0" fmla="*/ 2539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2539 w 4502804"/>
              <a:gd name="connsiteY8" fmla="*/ 0 h 6863529"/>
              <a:gd name="connsiteX0" fmla="*/ 659764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659764 w 4502804"/>
              <a:gd name="connsiteY8" fmla="*/ 0 h 6863529"/>
              <a:gd name="connsiteX0" fmla="*/ 2539 w 3845579"/>
              <a:gd name="connsiteY0" fmla="*/ 0 h 6863529"/>
              <a:gd name="connsiteX1" fmla="*/ 1652447 w 3845579"/>
              <a:gd name="connsiteY1" fmla="*/ 2989 h 6863529"/>
              <a:gd name="connsiteX2" fmla="*/ 1655623 w 3845579"/>
              <a:gd name="connsiteY2" fmla="*/ 1727014 h 6863529"/>
              <a:gd name="connsiteX3" fmla="*/ 3374342 w 3845579"/>
              <a:gd name="connsiteY3" fmla="*/ 1729395 h 6863529"/>
              <a:gd name="connsiteX4" fmla="*/ 3375224 w 3845579"/>
              <a:gd name="connsiteY4" fmla="*/ 3157 h 6863529"/>
              <a:gd name="connsiteX5" fmla="*/ 3843055 w 3845579"/>
              <a:gd name="connsiteY5" fmla="*/ 3044 h 6863529"/>
              <a:gd name="connsiteX6" fmla="*/ 3845579 w 3845579"/>
              <a:gd name="connsiteY6" fmla="*/ 6863371 h 6863529"/>
              <a:gd name="connsiteX7" fmla="*/ 0 w 3845579"/>
              <a:gd name="connsiteY7" fmla="*/ 6863529 h 6863529"/>
              <a:gd name="connsiteX8" fmla="*/ 2539 w 3845579"/>
              <a:gd name="connsiteY8" fmla="*/ 0 h 6863529"/>
              <a:gd name="connsiteX0" fmla="*/ 0 w 9148465"/>
              <a:gd name="connsiteY0" fmla="*/ 0 h 6863529"/>
              <a:gd name="connsiteX1" fmla="*/ 6955333 w 9148465"/>
              <a:gd name="connsiteY1" fmla="*/ 2989 h 6863529"/>
              <a:gd name="connsiteX2" fmla="*/ 6958509 w 9148465"/>
              <a:gd name="connsiteY2" fmla="*/ 1727014 h 6863529"/>
              <a:gd name="connsiteX3" fmla="*/ 8677228 w 9148465"/>
              <a:gd name="connsiteY3" fmla="*/ 1729395 h 6863529"/>
              <a:gd name="connsiteX4" fmla="*/ 8678110 w 9148465"/>
              <a:gd name="connsiteY4" fmla="*/ 3157 h 6863529"/>
              <a:gd name="connsiteX5" fmla="*/ 9145941 w 9148465"/>
              <a:gd name="connsiteY5" fmla="*/ 3044 h 6863529"/>
              <a:gd name="connsiteX6" fmla="*/ 9148465 w 9148465"/>
              <a:gd name="connsiteY6" fmla="*/ 6863371 h 6863529"/>
              <a:gd name="connsiteX7" fmla="*/ 5302886 w 9148465"/>
              <a:gd name="connsiteY7" fmla="*/ 6863529 h 6863529"/>
              <a:gd name="connsiteX8" fmla="*/ 0 w 9148465"/>
              <a:gd name="connsiteY8" fmla="*/ 0 h 6863529"/>
              <a:gd name="connsiteX0" fmla="*/ 2539 w 9151004"/>
              <a:gd name="connsiteY0" fmla="*/ 0 h 6863529"/>
              <a:gd name="connsiteX1" fmla="*/ 6957872 w 9151004"/>
              <a:gd name="connsiteY1" fmla="*/ 2989 h 6863529"/>
              <a:gd name="connsiteX2" fmla="*/ 6961048 w 9151004"/>
              <a:gd name="connsiteY2" fmla="*/ 1727014 h 6863529"/>
              <a:gd name="connsiteX3" fmla="*/ 8679767 w 9151004"/>
              <a:gd name="connsiteY3" fmla="*/ 1729395 h 6863529"/>
              <a:gd name="connsiteX4" fmla="*/ 8680649 w 9151004"/>
              <a:gd name="connsiteY4" fmla="*/ 3157 h 6863529"/>
              <a:gd name="connsiteX5" fmla="*/ 9148480 w 9151004"/>
              <a:gd name="connsiteY5" fmla="*/ 3044 h 6863529"/>
              <a:gd name="connsiteX6" fmla="*/ 9151004 w 9151004"/>
              <a:gd name="connsiteY6" fmla="*/ 6863371 h 6863529"/>
              <a:gd name="connsiteX7" fmla="*/ 0 w 9151004"/>
              <a:gd name="connsiteY7" fmla="*/ 6863529 h 6863529"/>
              <a:gd name="connsiteX8" fmla="*/ 2539 w 9151004"/>
              <a:gd name="connsiteY8" fmla="*/ 0 h 6863529"/>
              <a:gd name="connsiteX0" fmla="*/ 3 w 9148468"/>
              <a:gd name="connsiteY0" fmla="*/ 0 h 6863371"/>
              <a:gd name="connsiteX1" fmla="*/ 6955336 w 9148468"/>
              <a:gd name="connsiteY1" fmla="*/ 2989 h 6863371"/>
              <a:gd name="connsiteX2" fmla="*/ 6958512 w 9148468"/>
              <a:gd name="connsiteY2" fmla="*/ 1727014 h 6863371"/>
              <a:gd name="connsiteX3" fmla="*/ 8677231 w 9148468"/>
              <a:gd name="connsiteY3" fmla="*/ 1729395 h 6863371"/>
              <a:gd name="connsiteX4" fmla="*/ 8678113 w 9148468"/>
              <a:gd name="connsiteY4" fmla="*/ 3157 h 6863371"/>
              <a:gd name="connsiteX5" fmla="*/ 9145944 w 9148468"/>
              <a:gd name="connsiteY5" fmla="*/ 3044 h 6863371"/>
              <a:gd name="connsiteX6" fmla="*/ 9148468 w 9148468"/>
              <a:gd name="connsiteY6" fmla="*/ 6863371 h 6863371"/>
              <a:gd name="connsiteX7" fmla="*/ 906454 w 9148468"/>
              <a:gd name="connsiteY7" fmla="*/ 5397242 h 6863371"/>
              <a:gd name="connsiteX8" fmla="*/ 3 w 9148468"/>
              <a:gd name="connsiteY8" fmla="*/ 0 h 6863371"/>
              <a:gd name="connsiteX0" fmla="*/ 345 w 9148810"/>
              <a:gd name="connsiteY0" fmla="*/ 0 h 6863371"/>
              <a:gd name="connsiteX1" fmla="*/ 6955678 w 9148810"/>
              <a:gd name="connsiteY1" fmla="*/ 2989 h 6863371"/>
              <a:gd name="connsiteX2" fmla="*/ 6958854 w 9148810"/>
              <a:gd name="connsiteY2" fmla="*/ 1727014 h 6863371"/>
              <a:gd name="connsiteX3" fmla="*/ 8677573 w 9148810"/>
              <a:gd name="connsiteY3" fmla="*/ 1729395 h 6863371"/>
              <a:gd name="connsiteX4" fmla="*/ 8678455 w 9148810"/>
              <a:gd name="connsiteY4" fmla="*/ 3157 h 6863371"/>
              <a:gd name="connsiteX5" fmla="*/ 9146286 w 9148810"/>
              <a:gd name="connsiteY5" fmla="*/ 3044 h 6863371"/>
              <a:gd name="connsiteX6" fmla="*/ 9148810 w 9148810"/>
              <a:gd name="connsiteY6" fmla="*/ 6863371 h 6863371"/>
              <a:gd name="connsiteX7" fmla="*/ 3217 w 9148810"/>
              <a:gd name="connsiteY7" fmla="*/ 5148352 h 6863371"/>
              <a:gd name="connsiteX8" fmla="*/ 345 w 9148810"/>
              <a:gd name="connsiteY8" fmla="*/ 0 h 6863371"/>
              <a:gd name="connsiteX0" fmla="*/ 345 w 9146296"/>
              <a:gd name="connsiteY0" fmla="*/ 0 h 5359210"/>
              <a:gd name="connsiteX1" fmla="*/ 6955678 w 9146296"/>
              <a:gd name="connsiteY1" fmla="*/ 2989 h 5359210"/>
              <a:gd name="connsiteX2" fmla="*/ 6958854 w 9146296"/>
              <a:gd name="connsiteY2" fmla="*/ 1727014 h 5359210"/>
              <a:gd name="connsiteX3" fmla="*/ 8677573 w 9146296"/>
              <a:gd name="connsiteY3" fmla="*/ 1729395 h 5359210"/>
              <a:gd name="connsiteX4" fmla="*/ 8678455 w 9146296"/>
              <a:gd name="connsiteY4" fmla="*/ 3157 h 5359210"/>
              <a:gd name="connsiteX5" fmla="*/ 9146286 w 9146296"/>
              <a:gd name="connsiteY5" fmla="*/ 3044 h 5359210"/>
              <a:gd name="connsiteX6" fmla="*/ 9100114 w 9146296"/>
              <a:gd name="connsiteY6" fmla="*/ 5359210 h 5359210"/>
              <a:gd name="connsiteX7" fmla="*/ 3217 w 9146296"/>
              <a:gd name="connsiteY7" fmla="*/ 5148352 h 5359210"/>
              <a:gd name="connsiteX8" fmla="*/ 345 w 9146296"/>
              <a:gd name="connsiteY8" fmla="*/ 0 h 5359210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37373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46898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8810" h="5148352">
                <a:moveTo>
                  <a:pt x="345" y="0"/>
                </a:moveTo>
                <a:lnTo>
                  <a:pt x="6955678" y="2989"/>
                </a:lnTo>
                <a:cubicBezTo>
                  <a:pt x="6957530" y="577664"/>
                  <a:pt x="6957002" y="1152339"/>
                  <a:pt x="6958854" y="1727014"/>
                </a:cubicBezTo>
                <a:lnTo>
                  <a:pt x="8677573" y="1729395"/>
                </a:lnTo>
                <a:cubicBezTo>
                  <a:pt x="8677073" y="1154776"/>
                  <a:pt x="8678955" y="577776"/>
                  <a:pt x="8678455" y="3157"/>
                </a:cubicBezTo>
                <a:lnTo>
                  <a:pt x="9146286" y="3044"/>
                </a:lnTo>
                <a:cubicBezTo>
                  <a:pt x="9147127" y="2035820"/>
                  <a:pt x="9147548" y="1716734"/>
                  <a:pt x="9148810" y="5146898"/>
                </a:cubicBezTo>
                <a:lnTo>
                  <a:pt x="3217" y="5148352"/>
                </a:lnTo>
                <a:cubicBezTo>
                  <a:pt x="5122" y="2861567"/>
                  <a:pt x="-1560" y="2286785"/>
                  <a:pt x="345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9" name="Titel 3"/>
          <p:cNvSpPr>
            <a:spLocks noGrp="1"/>
          </p:cNvSpPr>
          <p:nvPr>
            <p:ph type="title"/>
          </p:nvPr>
        </p:nvSpPr>
        <p:spPr>
          <a:xfrm>
            <a:off x="1115616" y="1995686"/>
            <a:ext cx="5472509" cy="147732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1116013" y="3418563"/>
            <a:ext cx="5472112" cy="11525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488" y="-1587"/>
            <a:ext cx="1727200" cy="17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1217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756000"/>
            <a:ext cx="8172000" cy="720000"/>
          </a:xfrm>
        </p:spPr>
        <p:txBody>
          <a:bodyPr/>
          <a:lstStyle>
            <a:lvl1pPr>
              <a:lnSpc>
                <a:spcPts val="57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476441"/>
            <a:ext cx="8172000" cy="1439863"/>
          </a:xfrm>
        </p:spPr>
        <p:txBody>
          <a:bodyPr/>
          <a:lstStyle>
            <a:lvl1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1pPr>
            <a:lvl2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2pPr>
            <a:lvl3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3pPr>
            <a:lvl4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4pPr>
            <a:lvl5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5pPr>
            <a:lvl6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6pPr>
            <a:lvl7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7pPr>
            <a:lvl8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8pPr>
            <a:lvl9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Hervorhebung</a:t>
            </a:r>
          </a:p>
        </p:txBody>
      </p:sp>
    </p:spTree>
    <p:extLst>
      <p:ext uri="{BB962C8B-B14F-4D97-AF65-F5344CB8AC3E}">
        <p14:creationId xmlns:p14="http://schemas.microsoft.com/office/powerpoint/2010/main" val="2910894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172000" cy="540000"/>
          </a:xfrm>
        </p:spPr>
        <p:txBody>
          <a:bodyPr/>
          <a:lstStyle>
            <a:lvl1pPr>
              <a:lnSpc>
                <a:spcPts val="44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367999"/>
            <a:ext cx="8172000" cy="2916000"/>
          </a:xfrm>
        </p:spPr>
        <p:txBody>
          <a:bodyPr/>
          <a:lstStyle>
            <a:lvl1pPr>
              <a:lnSpc>
                <a:spcPts val="4400"/>
              </a:lnSpc>
              <a:spcAft>
                <a:spcPts val="0"/>
              </a:spcAft>
              <a:defRPr sz="3600" b="0">
                <a:solidFill>
                  <a:schemeClr val="bg1"/>
                </a:solidFill>
              </a:defRPr>
            </a:lvl1pPr>
            <a:lvl2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2pPr>
            <a:lvl3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3pPr>
            <a:lvl4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4pPr>
            <a:lvl5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5pPr>
            <a:lvl6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6pPr>
            <a:lvl7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7pPr>
            <a:lvl8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8pPr>
            <a:lvl9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Hervorhebung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7051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 defTabSz="234000">
              <a:tabLst>
                <a:tab pos="234000" algn="l"/>
              </a:tabLst>
              <a:defRPr/>
            </a:lvl2pPr>
            <a:lvl3pPr defTabSz="234000">
              <a:tabLst>
                <a:tab pos="234000" algn="l"/>
              </a:tabLst>
              <a:defRPr/>
            </a:lvl3pPr>
            <a:lvl4pPr defTabSz="234000">
              <a:tabLst>
                <a:tab pos="234000" algn="l"/>
              </a:tabLst>
              <a:defRPr/>
            </a:lvl4pPr>
            <a:lvl5pPr defTabSz="234000">
              <a:tabLst>
                <a:tab pos="234000" algn="l"/>
              </a:tabLst>
              <a:defRPr/>
            </a:lvl5pPr>
            <a:lvl6pPr marL="0" indent="0" defTabSz="234000">
              <a:buFont typeface="+mj-lt"/>
              <a:buNone/>
              <a:tabLst>
                <a:tab pos="234000" algn="l"/>
              </a:tabLst>
              <a:defRPr/>
            </a:lvl6pPr>
            <a:lvl7pPr defTabSz="234000">
              <a:tabLst>
                <a:tab pos="234000" algn="l"/>
              </a:tabLst>
              <a:defRPr/>
            </a:lvl7pPr>
            <a:lvl8pPr defTabSz="234000">
              <a:tabLst>
                <a:tab pos="234000" algn="l"/>
              </a:tabLst>
              <a:defRPr/>
            </a:lvl8pPr>
            <a:lvl9pPr defTabSz="234000">
              <a:tabLst>
                <a:tab pos="234000" algn="l"/>
              </a:tabLst>
              <a:defRPr/>
            </a:lvl9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05867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Tabellenplatzhalter 4">
            <a:extLst>
              <a:ext uri="{FF2B5EF4-FFF2-40B4-BE49-F238E27FC236}">
                <a16:creationId xmlns:a16="http://schemas.microsoft.com/office/drawing/2014/main" id="{F5A8BB0B-4BD0-4791-8A9B-89C9D0000E3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68000" y="918000"/>
            <a:ext cx="8172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 dirty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541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9031" y="405427"/>
            <a:ext cx="7560000" cy="46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 dirty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AA78F89-2ACB-412B-A15E-E0257394F0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5238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53BA0682-B47F-4367-A3B8-D32510070C9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021886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8A034563-AB29-4F37-B5BB-3345653239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8534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0424F7CF-E57C-464B-8B50-5B9AC8DA959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15182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710B0DF4-ED82-43E1-BDB1-7320C123D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25238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B71EE452-5FE7-40D2-B9E1-D5D45EDB5AB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021886" y="28423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D276B3D8-1DDB-4E7B-9F3D-9878674761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18534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4" name="Bildplatzhalter 6">
            <a:extLst>
              <a:ext uri="{FF2B5EF4-FFF2-40B4-BE49-F238E27FC236}">
                <a16:creationId xmlns:a16="http://schemas.microsoft.com/office/drawing/2014/main" id="{07C48AA0-BED2-43CB-AB9B-1BA883F1149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609555" y="28252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FDB2DC1-8B4F-4765-964F-31538821C2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451725" y="1060450"/>
            <a:ext cx="1584325" cy="32067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8131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0"/>
            <a:ext cx="9144000" cy="514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Vollbild durch klicken einfügen.</a:t>
            </a:r>
          </a:p>
        </p:txBody>
      </p:sp>
    </p:spTree>
    <p:extLst>
      <p:ext uri="{BB962C8B-B14F-4D97-AF65-F5344CB8AC3E}">
        <p14:creationId xmlns:p14="http://schemas.microsoft.com/office/powerpoint/2010/main" val="3911177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2052000" y="468000"/>
            <a:ext cx="5040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51999" y="3952800"/>
            <a:ext cx="5040000" cy="32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325704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92" userDrawn="1">
          <p15:clr>
            <a:srgbClr val="FBAE40"/>
          </p15:clr>
        </p15:guide>
        <p15:guide id="2" pos="4468" userDrawn="1">
          <p15:clr>
            <a:srgbClr val="FBAE40"/>
          </p15:clr>
        </p15:guide>
        <p15:guide id="3" orient="horz" pos="291" userDrawn="1">
          <p15:clr>
            <a:srgbClr val="FBAE40"/>
          </p15:clr>
        </p15:guide>
        <p15:guide id="4" orient="horz" pos="241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</a:t>
            </a:r>
            <a:r>
              <a:rPr lang="de-DE" dirty="0" err="1"/>
              <a:t>Bildunterzeile</a:t>
            </a:r>
            <a:r>
              <a:rPr lang="de-DE" dirty="0"/>
              <a:t>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</a:t>
            </a:r>
            <a:r>
              <a:rPr lang="de-DE" dirty="0" err="1"/>
              <a:t>Bildunterzeile</a:t>
            </a:r>
            <a:r>
              <a:rPr lang="de-DE" dirty="0"/>
              <a:t> // für weitere Ebenen (Text)  &gt;&gt; Menü &gt; Start &gt; Absatz &gt; Listenebene erhöhen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622643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3" userDrawn="1">
          <p15:clr>
            <a:srgbClr val="FBAE40"/>
          </p15:clr>
        </p15:guide>
        <p15:guide id="3" orient="horz" pos="291">
          <p15:clr>
            <a:srgbClr val="FBAE40"/>
          </p15:clr>
        </p15:guide>
        <p15:guide id="4" orient="horz" pos="1963" userDrawn="1">
          <p15:clr>
            <a:srgbClr val="FBAE40"/>
          </p15:clr>
        </p15:guide>
        <p15:guide id="5" pos="279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468000" y="396000"/>
            <a:ext cx="7560000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KAPITEL | CHART-HEADLINE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468000" y="918000"/>
            <a:ext cx="7560000" cy="336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(Text und Aufzählung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360000" y="5524114"/>
            <a:ext cx="4284008" cy="17998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720000" y="4752000"/>
            <a:ext cx="6300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324000" y="4752000"/>
            <a:ext cx="252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grpSp>
        <p:nvGrpSpPr>
          <p:cNvPr id="31" name="Regieanweisungen"/>
          <p:cNvGrpSpPr/>
          <p:nvPr userDrawn="1"/>
        </p:nvGrpSpPr>
        <p:grpSpPr>
          <a:xfrm>
            <a:off x="-2088000" y="-468000"/>
            <a:ext cx="13284000" cy="6083999"/>
            <a:chOff x="-2088000" y="-468000"/>
            <a:chExt cx="13284000" cy="6083999"/>
          </a:xfrm>
        </p:grpSpPr>
        <p:grpSp>
          <p:nvGrpSpPr>
            <p:cNvPr id="29" name="Listenebenen"/>
            <p:cNvGrpSpPr/>
            <p:nvPr userDrawn="1"/>
          </p:nvGrpSpPr>
          <p:grpSpPr>
            <a:xfrm>
              <a:off x="-2088000" y="1368000"/>
              <a:ext cx="1980000" cy="2319874"/>
              <a:chOff x="-2088000" y="1368000"/>
              <a:chExt cx="1980000" cy="2319874"/>
            </a:xfrm>
          </p:grpSpPr>
          <p:sp>
            <p:nvSpPr>
              <p:cNvPr id="12" name="Text // Listenebene erhöhen"/>
              <p:cNvSpPr txBox="1"/>
              <p:nvPr userDrawn="1"/>
            </p:nvSpPr>
            <p:spPr>
              <a:xfrm>
                <a:off x="-2016000" y="2787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13" name="Text // Listenebene verringern"/>
              <p:cNvSpPr txBox="1"/>
              <p:nvPr userDrawn="1"/>
            </p:nvSpPr>
            <p:spPr>
              <a:xfrm>
                <a:off x="-2016000" y="3291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5" name="Listenebenen"/>
              <p:cNvSpPr txBox="1"/>
              <p:nvPr userDrawn="1"/>
            </p:nvSpPr>
            <p:spPr>
              <a:xfrm rot="10800000" flipH="1" flipV="1">
                <a:off x="-2088000" y="1368000"/>
                <a:ext cx="1980000" cy="8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Listen erstellen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Wechseln Sie die Text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im Menü über: </a:t>
                </a:r>
                <a:b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</a:b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Start &gt; Absatz &gt; Listenebene erhöhen/verringern</a:t>
                </a:r>
              </a:p>
            </p:txBody>
          </p:sp>
          <p:pic>
            <p:nvPicPr>
              <p:cNvPr id="27" name="Bild // Listenebene verringern"/>
              <p:cNvPicPr>
                <a:picLocks noChangeAspect="1"/>
              </p:cNvPicPr>
              <p:nvPr userDrawn="1"/>
            </p:nvPicPr>
            <p:blipFill>
              <a:blip r:embed="rId20"/>
              <a:stretch>
                <a:fillRect/>
              </a:stretch>
            </p:blipFill>
            <p:spPr>
              <a:xfrm>
                <a:off x="-963360" y="3291874"/>
                <a:ext cx="855360" cy="396000"/>
              </a:xfrm>
              <a:prstGeom prst="rect">
                <a:avLst/>
              </a:prstGeom>
            </p:spPr>
          </p:pic>
          <p:pic>
            <p:nvPicPr>
              <p:cNvPr id="28" name="Bild // Listenebene erhöhen"/>
              <p:cNvPicPr>
                <a:picLocks noChangeAspect="1"/>
              </p:cNvPicPr>
              <p:nvPr userDrawn="1"/>
            </p:nvPicPr>
            <p:blipFill>
              <a:blip r:embed="rId21"/>
              <a:stretch>
                <a:fillRect/>
              </a:stretch>
            </p:blipFill>
            <p:spPr>
              <a:xfrm>
                <a:off x="-963360" y="2787874"/>
                <a:ext cx="855360" cy="396000"/>
              </a:xfrm>
              <a:prstGeom prst="rect">
                <a:avLst/>
              </a:prstGeom>
            </p:spPr>
          </p:pic>
        </p:grpSp>
        <p:sp>
          <p:nvSpPr>
            <p:cNvPr id="14" name="Zurücksetzen"/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ü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2283786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</p:grp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61B1FA0-8233-4248-B899-BF9702E3E986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289C4D98-9606-4382-895C-2F9999CA3289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41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0" r:id="rId4"/>
    <p:sldLayoutId id="2147483667" r:id="rId5"/>
    <p:sldLayoutId id="2147483669" r:id="rId6"/>
    <p:sldLayoutId id="2147483658" r:id="rId7"/>
    <p:sldLayoutId id="2147483659" r:id="rId8"/>
    <p:sldLayoutId id="2147483660" r:id="rId9"/>
    <p:sldLayoutId id="2147483661" r:id="rId10"/>
    <p:sldLayoutId id="2147483663" r:id="rId11"/>
    <p:sldLayoutId id="2147483662" r:id="rId12"/>
    <p:sldLayoutId id="2147483664" r:id="rId13"/>
    <p:sldLayoutId id="2147483665" r:id="rId14"/>
    <p:sldLayoutId id="2147483666" r:id="rId15"/>
    <p:sldLayoutId id="2147483654" r:id="rId16"/>
    <p:sldLayoutId id="2147483655" r:id="rId17"/>
    <p:sldLayoutId id="2147483670" r:id="rId18"/>
  </p:sldLayoutIdLst>
  <p:hf hdr="0" dt="0"/>
  <p:txStyles>
    <p:title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700" b="0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1200"/>
        </a:spcAft>
        <a:buSzPct val="75000"/>
        <a:buFont typeface="Arial" panose="020B0604020202020204" pitchFamily="34" charset="0"/>
        <a:buNone/>
        <a:defRPr sz="1500" b="1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234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bg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468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702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2" userDrawn="1">
          <p15:clr>
            <a:srgbClr val="5ACBF0"/>
          </p15:clr>
        </p15:guide>
        <p15:guide id="2" pos="5059" userDrawn="1">
          <p15:clr>
            <a:srgbClr val="5ACBF0"/>
          </p15:clr>
        </p15:guide>
        <p15:guide id="3" orient="horz" pos="245" userDrawn="1">
          <p15:clr>
            <a:srgbClr val="5ACBF0"/>
          </p15:clr>
        </p15:guide>
        <p15:guide id="4" orient="horz" pos="2700" userDrawn="1">
          <p15:clr>
            <a:srgbClr val="5ACBF0"/>
          </p15:clr>
        </p15:guide>
        <p15:guide id="5" pos="5443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9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draußen, Gebäude, Wasser, groß enthält.&#10;&#10;Automatisch generierte Beschreibung">
            <a:extLst>
              <a:ext uri="{FF2B5EF4-FFF2-40B4-BE49-F238E27FC236}">
                <a16:creationId xmlns:a16="http://schemas.microsoft.com/office/drawing/2014/main" id="{9630A345-5842-47A2-BA27-F0F55B82C24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4" b="2361"/>
          <a:stretch/>
        </p:blipFill>
        <p:spPr>
          <a:xfrm>
            <a:off x="-4834" y="-1"/>
            <a:ext cx="9148810" cy="5143501"/>
          </a:xfr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71600" y="2472629"/>
            <a:ext cx="5904656" cy="747193"/>
          </a:xfrm>
        </p:spPr>
        <p:txBody>
          <a:bodyPr anchor="t">
            <a:normAutofit fontScale="90000"/>
          </a:bodyPr>
          <a:lstStyle/>
          <a:p>
            <a:r>
              <a:rPr lang="de-DE" sz="3300" dirty="0"/>
              <a:t>Tutorium zur VL. Sitzung (Teil 16) 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116013" y="3418563"/>
            <a:ext cx="5472112" cy="1152525"/>
          </a:xfr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 marL="447675" indent="-28575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62547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3pPr>
            <a:lvl4pPr marL="901700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4pPr>
            <a:lvl5pPr marL="116522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r>
              <a:rPr lang="de-DE" sz="2000" dirty="0"/>
              <a:t>Sozialstruktur und sozialer Wandel</a:t>
            </a: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809833B-99C6-4DE4-8502-C3CF07774921}"/>
              </a:ext>
            </a:extLst>
          </p:cNvPr>
          <p:cNvSpPr/>
          <p:nvPr/>
        </p:nvSpPr>
        <p:spPr>
          <a:xfrm>
            <a:off x="110846" y="169835"/>
            <a:ext cx="3741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chemeClr val="tx2"/>
                </a:solidFill>
                <a:latin typeface="Calibri-Bold"/>
              </a:rPr>
              <a:t>FAKULTÄT FÜR SOZIALWISSENSCHAFT</a:t>
            </a:r>
            <a:endParaRPr lang="de-DE" dirty="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1731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67826"/>
            <a:ext cx="8946536" cy="468000"/>
          </a:xfrm>
        </p:spPr>
        <p:txBody>
          <a:bodyPr/>
          <a:lstStyle/>
          <a:p>
            <a:r>
              <a:rPr lang="de-DE" dirty="0"/>
              <a:t>Struktur des Bildungssystems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887" y="695616"/>
            <a:ext cx="4986096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solidFill>
                  <a:schemeClr val="accent2"/>
                </a:solidFill>
              </a:rPr>
              <a:t>Rahmenbedingungen:</a:t>
            </a:r>
            <a:r>
              <a:rPr lang="de-DE" sz="1400" b="0" dirty="0">
                <a:solidFill>
                  <a:schemeClr val="accent2"/>
                </a:solidFill>
              </a:rPr>
              <a:t>:</a:t>
            </a:r>
            <a:endParaRPr lang="de-DE" sz="1800" b="0" dirty="0">
              <a:solidFill>
                <a:schemeClr val="accent2"/>
              </a:solidFill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Allgemeine </a:t>
            </a:r>
            <a:r>
              <a:rPr lang="de-DE" sz="1800" dirty="0"/>
              <a:t>Schulpflicht</a:t>
            </a:r>
            <a:r>
              <a:rPr lang="de-DE" sz="1800" b="0" dirty="0"/>
              <a:t> von 6 Jahren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Durchsetzung unterliegt Erziehungsberechtigten &amp; ggf. Staat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Förderale Struktur</a:t>
            </a:r>
            <a:r>
              <a:rPr lang="de-DE" sz="1800" b="0" dirty="0"/>
              <a:t>: Bildungsverwaltung &amp; Finanzierung obliegt den Bundesländern (NRW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Stark differenziertes Schulsystem: </a:t>
            </a:r>
            <a:r>
              <a:rPr lang="de-DE" sz="1800" dirty="0"/>
              <a:t>Dreigliedrigkeit</a:t>
            </a:r>
            <a:r>
              <a:rPr lang="de-DE" sz="1800" b="0" dirty="0"/>
              <a:t> (1) Primär, 2) Sekundär, 3) Tertiär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i="1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0</a:t>
            </a:fld>
            <a:r>
              <a:rPr lang="de-DE"/>
              <a:t> </a:t>
            </a:r>
            <a:endParaRPr lang="de-DE" dirty="0"/>
          </a:p>
        </p:txBody>
      </p:sp>
      <p:pic>
        <p:nvPicPr>
          <p:cNvPr id="6" name="Picture 8" descr="Bildungsbericht_XII">
            <a:extLst>
              <a:ext uri="{FF2B5EF4-FFF2-40B4-BE49-F238E27FC236}">
                <a16:creationId xmlns:a16="http://schemas.microsoft.com/office/drawing/2014/main" id="{3B9D8C65-F040-D1A5-77C9-157E73B483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383983" y="-17344"/>
            <a:ext cx="3655190" cy="5178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74655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67826"/>
            <a:ext cx="8946536" cy="468000"/>
          </a:xfrm>
        </p:spPr>
        <p:txBody>
          <a:bodyPr/>
          <a:lstStyle/>
          <a:p>
            <a:r>
              <a:rPr lang="de-DE" dirty="0"/>
              <a:t> </a:t>
            </a:r>
            <a:r>
              <a:rPr lang="de-DE" dirty="0">
                <a:solidFill>
                  <a:schemeClr val="accent2"/>
                </a:solidFill>
              </a:rPr>
              <a:t>Bildungsungleichheiten</a:t>
            </a:r>
            <a:r>
              <a:rPr lang="de-DE" dirty="0"/>
              <a:t> im vereinten DE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2000" y="784465"/>
            <a:ext cx="8090659" cy="4056384"/>
          </a:xfrm>
        </p:spPr>
        <p:txBody>
          <a:bodyPr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de-DE" sz="2000" b="0" dirty="0"/>
              <a:t>„Bildung als die Schlüsselfrage des 21. Jahrhunderts“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de-DE" sz="20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Bildung als </a:t>
            </a:r>
            <a:r>
              <a:rPr lang="de-DE" sz="1800" b="0" dirty="0">
                <a:solidFill>
                  <a:schemeClr val="accent2"/>
                </a:solidFill>
              </a:rPr>
              <a:t>Chance auf berufliche Position, wirtsch. Reichtum, sozialer Anerkennung &amp; gesell. Legitimatio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Gröbste Ungleichheiten </a:t>
            </a:r>
            <a:r>
              <a:rPr lang="de-DE" sz="1800" b="0" dirty="0"/>
              <a:t>durch grundsätzliche Bildung </a:t>
            </a:r>
            <a:r>
              <a:rPr lang="de-DE" sz="1800" dirty="0"/>
              <a:t>reduziert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ABER: ungleiche Bildungschancen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Kunstfigur: </a:t>
            </a:r>
            <a:r>
              <a:rPr lang="de-DE" sz="1800" dirty="0"/>
              <a:t>„Muslimischer Migrationssohn aus der Großstadt“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i="1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                          Blick auf Erfolge/ Misserfolge der Bildungsexpansion: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1</a:t>
            </a:fld>
            <a:r>
              <a:rPr lang="de-DE"/>
              <a:t> </a:t>
            </a:r>
            <a:endParaRPr lang="de-DE" dirty="0"/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DAE2270D-A489-3D7B-1ED2-8E0F88A0B6FA}"/>
              </a:ext>
            </a:extLst>
          </p:cNvPr>
          <p:cNvCxnSpPr/>
          <p:nvPr/>
        </p:nvCxnSpPr>
        <p:spPr>
          <a:xfrm>
            <a:off x="576000" y="4083918"/>
            <a:ext cx="1259712" cy="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9881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67826"/>
            <a:ext cx="8946536" cy="468000"/>
          </a:xfrm>
        </p:spPr>
        <p:txBody>
          <a:bodyPr/>
          <a:lstStyle/>
          <a:p>
            <a:r>
              <a:rPr lang="de-DE" dirty="0"/>
              <a:t> Bildungsungleichheiten im vereinten DE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403" y="589692"/>
            <a:ext cx="8659897" cy="3964116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600" b="0" dirty="0"/>
              <a:t>1) </a:t>
            </a:r>
            <a:r>
              <a:rPr lang="de-DE" sz="1800" b="0" dirty="0">
                <a:solidFill>
                  <a:schemeClr val="accent2"/>
                </a:solidFill>
              </a:rPr>
              <a:t>Geschlecht</a:t>
            </a:r>
            <a:r>
              <a:rPr lang="de-DE" sz="1800" b="0" dirty="0"/>
              <a:t>: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Bindungschancen vom </a:t>
            </a:r>
            <a:r>
              <a:rPr lang="de-DE" sz="1800" dirty="0"/>
              <a:t>Geschlecht</a:t>
            </a:r>
            <a:r>
              <a:rPr lang="de-DE" sz="1800" b="0" dirty="0"/>
              <a:t> gebrochen bzw. </a:t>
            </a:r>
            <a:r>
              <a:rPr lang="de-DE" sz="1800" dirty="0"/>
              <a:t>umgekehrt</a:t>
            </a:r>
            <a:r>
              <a:rPr lang="de-DE" sz="1800" b="0" dirty="0"/>
              <a:t> im </a:t>
            </a:r>
            <a:r>
              <a:rPr lang="de-DE" sz="1800" dirty="0"/>
              <a:t>Schulsystem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Mädchen</a:t>
            </a:r>
            <a:r>
              <a:rPr lang="de-DE" sz="1800" b="0" dirty="0"/>
              <a:t> gelten als </a:t>
            </a:r>
            <a:r>
              <a:rPr lang="de-DE" sz="1800" dirty="0"/>
              <a:t>Gewinnerinnen</a:t>
            </a:r>
            <a:r>
              <a:rPr lang="de-DE" sz="1800" b="0" dirty="0"/>
              <a:t> (besser &amp; höher), Jungs als Bildungsverlierer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Gleichstand</a:t>
            </a:r>
            <a:r>
              <a:rPr lang="de-DE" sz="1800" b="0" dirty="0"/>
              <a:t> beim </a:t>
            </a:r>
            <a:r>
              <a:rPr lang="de-DE" sz="1800" dirty="0"/>
              <a:t>Studienverlauf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Verhältnisse weiterhin zum </a:t>
            </a:r>
            <a:r>
              <a:rPr lang="de-DE" sz="1800" dirty="0"/>
              <a:t>Nachteil</a:t>
            </a:r>
            <a:r>
              <a:rPr lang="de-DE" sz="1800" b="0" dirty="0"/>
              <a:t> </a:t>
            </a:r>
            <a:r>
              <a:rPr lang="de-DE" sz="1800" dirty="0"/>
              <a:t>Frauen</a:t>
            </a:r>
            <a:r>
              <a:rPr lang="de-DE" sz="1800" b="0" dirty="0"/>
              <a:t> auf </a:t>
            </a:r>
            <a:r>
              <a:rPr lang="de-DE" sz="1800" dirty="0"/>
              <a:t>Arbeitsmarkt </a:t>
            </a:r>
            <a:r>
              <a:rPr lang="de-DE" sz="1800" dirty="0">
                <a:sym typeface="Wingdings" panose="05000000000000000000" pitchFamily="2" charset="2"/>
              </a:rPr>
              <a:t></a:t>
            </a:r>
            <a:r>
              <a:rPr lang="de-DE" sz="1800" b="0" dirty="0">
                <a:sym typeface="Wingdings" panose="05000000000000000000" pitchFamily="2" charset="2"/>
              </a:rPr>
              <a:t>Fächerpräferenzen &amp; Studienwahl wirken auf Verwertbarkeit am Arbeitsmarkt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2) </a:t>
            </a: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Religion: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Verschiebung vom Katholizismus hin </a:t>
            </a:r>
            <a:r>
              <a:rPr lang="de-DE" sz="1800" dirty="0">
                <a:sym typeface="Wingdings" panose="05000000000000000000" pitchFamily="2" charset="2"/>
              </a:rPr>
              <a:t>zum Islam </a:t>
            </a:r>
            <a:r>
              <a:rPr lang="de-DE" sz="1800" b="0" dirty="0">
                <a:sym typeface="Wingdings" panose="05000000000000000000" pitchFamily="2" charset="2"/>
              </a:rPr>
              <a:t>(Verbindung mit MH)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3) </a:t>
            </a: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Wohnregion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Nachteilig für </a:t>
            </a:r>
            <a:r>
              <a:rPr lang="de-DE" sz="1800" dirty="0">
                <a:sym typeface="Wingdings" panose="05000000000000000000" pitchFamily="2" charset="2"/>
              </a:rPr>
              <a:t>Großstädte</a:t>
            </a:r>
            <a:r>
              <a:rPr lang="de-DE" sz="1800" b="0" dirty="0">
                <a:sym typeface="Wingdings" panose="05000000000000000000" pitchFamily="2" charset="2"/>
              </a:rPr>
              <a:t> 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Menschen mit </a:t>
            </a:r>
            <a:r>
              <a:rPr lang="de-DE" sz="1800" dirty="0">
                <a:sym typeface="Wingdings" panose="05000000000000000000" pitchFamily="2" charset="2"/>
              </a:rPr>
              <a:t>MH</a:t>
            </a:r>
            <a:r>
              <a:rPr lang="de-DE" sz="1800" b="0" dirty="0">
                <a:sym typeface="Wingdings" panose="05000000000000000000" pitchFamily="2" charset="2"/>
              </a:rPr>
              <a:t> &amp; </a:t>
            </a:r>
            <a:r>
              <a:rPr lang="de-DE" sz="1800" dirty="0">
                <a:sym typeface="Wingdings" panose="05000000000000000000" pitchFamily="2" charset="2"/>
              </a:rPr>
              <a:t>islamischer Glaubensorientierung häufiger </a:t>
            </a:r>
            <a:r>
              <a:rPr lang="de-DE" sz="1800" b="0" dirty="0">
                <a:sym typeface="Wingdings" panose="05000000000000000000" pitchFamily="2" charset="2"/>
              </a:rPr>
              <a:t>in Großstädte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à"/>
            </a:pPr>
            <a:endParaRPr lang="de-DE" sz="18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à"/>
            </a:pP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i="1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2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8134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67826"/>
            <a:ext cx="8946536" cy="468000"/>
          </a:xfrm>
        </p:spPr>
        <p:txBody>
          <a:bodyPr/>
          <a:lstStyle/>
          <a:p>
            <a:r>
              <a:rPr lang="de-DE" dirty="0"/>
              <a:t> Bildungsungleichheiten im vereinten DE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403" y="665721"/>
            <a:ext cx="8659897" cy="4056384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4) </a:t>
            </a: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Soziale Herkunft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>
                <a:sym typeface="Wingdings" panose="05000000000000000000" pitchFamily="2" charset="2"/>
              </a:rPr>
              <a:t>Ununterbrochene Abhängigkeit </a:t>
            </a:r>
            <a:r>
              <a:rPr lang="de-DE" sz="1800" b="0" dirty="0">
                <a:sym typeface="Wingdings" panose="05000000000000000000" pitchFamily="2" charset="2"/>
              </a:rPr>
              <a:t>der sozialen Herkunft setzt sich fort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>
                <a:sym typeface="Wingdings" panose="05000000000000000000" pitchFamily="2" charset="2"/>
              </a:rPr>
              <a:t>Pisa Schock </a:t>
            </a:r>
            <a:r>
              <a:rPr lang="de-DE" sz="1800" b="0" dirty="0">
                <a:sym typeface="Wingdings" panose="05000000000000000000" pitchFamily="2" charset="2"/>
              </a:rPr>
              <a:t>(2001) hat </a:t>
            </a:r>
            <a:r>
              <a:rPr lang="de-DE" sz="1800" dirty="0">
                <a:sym typeface="Wingdings" panose="05000000000000000000" pitchFamily="2" charset="2"/>
              </a:rPr>
              <a:t>Illusion von Chancengleichheit </a:t>
            </a:r>
            <a:r>
              <a:rPr lang="de-DE" sz="1800" b="0" dirty="0">
                <a:sym typeface="Wingdings" panose="05000000000000000000" pitchFamily="2" charset="2"/>
              </a:rPr>
              <a:t>zerstör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Fazit: Paradoxes Ergebnis: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Bildungschancen </a:t>
            </a:r>
            <a:r>
              <a:rPr lang="de-DE" sz="1800" dirty="0">
                <a:sym typeface="Wingdings" panose="05000000000000000000" pitchFamily="2" charset="2"/>
              </a:rPr>
              <a:t>aller Schichten verbessert</a:t>
            </a:r>
            <a:r>
              <a:rPr lang="de-DE" sz="1800" b="0" dirty="0">
                <a:sym typeface="Wingdings" panose="05000000000000000000" pitchFamily="2" charset="2"/>
              </a:rPr>
              <a:t>, </a:t>
            </a:r>
            <a:r>
              <a:rPr lang="de-DE" sz="1800" dirty="0">
                <a:sym typeface="Wingdings" panose="05000000000000000000" pitchFamily="2" charset="2"/>
              </a:rPr>
              <a:t>ohne</a:t>
            </a:r>
            <a:r>
              <a:rPr lang="de-DE" sz="1800" b="0" dirty="0">
                <a:sym typeface="Wingdings" panose="05000000000000000000" pitchFamily="2" charset="2"/>
              </a:rPr>
              <a:t> </a:t>
            </a:r>
            <a:r>
              <a:rPr lang="de-DE" sz="1800" dirty="0">
                <a:sym typeface="Wingdings" panose="05000000000000000000" pitchFamily="2" charset="2"/>
              </a:rPr>
              <a:t>Ungleichheiten </a:t>
            </a:r>
            <a:r>
              <a:rPr lang="de-DE" sz="1800" b="0" dirty="0">
                <a:sym typeface="Wingdings" panose="05000000000000000000" pitchFamily="2" charset="2"/>
              </a:rPr>
              <a:t>zu</a:t>
            </a:r>
            <a:r>
              <a:rPr lang="de-DE" sz="1800" dirty="0">
                <a:sym typeface="Wingdings" panose="05000000000000000000" pitchFamily="2" charset="2"/>
              </a:rPr>
              <a:t> beseitigen (‚Fahrstuhleffekt‘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Kunstfigur empirisch bestätigt: </a:t>
            </a:r>
            <a:r>
              <a:rPr lang="de-DE" sz="1800" dirty="0"/>
              <a:t>„Muslimischer Migrationssohn aus der Großstadt“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i="1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3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72565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67826"/>
            <a:ext cx="8946536" cy="468000"/>
          </a:xfrm>
        </p:spPr>
        <p:txBody>
          <a:bodyPr/>
          <a:lstStyle/>
          <a:p>
            <a:r>
              <a:rPr lang="de-DE" dirty="0"/>
              <a:t> Bildungsungleichheiten im vereinten DE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403" y="615747"/>
            <a:ext cx="8659897" cy="4056384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Begrifflichkeit:</a:t>
            </a:r>
            <a:r>
              <a:rPr lang="de-DE" sz="1800" dirty="0">
                <a:solidFill>
                  <a:schemeClr val="accent2"/>
                </a:solidFill>
                <a:sym typeface="Wingdings" panose="05000000000000000000" pitchFamily="2" charset="2"/>
              </a:rPr>
              <a:t> Bildungsarmut</a:t>
            </a:r>
            <a:r>
              <a:rPr lang="de-DE" sz="1800" b="0" dirty="0">
                <a:sym typeface="Wingdings" panose="05000000000000000000" pitchFamily="2" charset="2"/>
              </a:rPr>
              <a:t> </a:t>
            </a:r>
            <a:endParaRPr lang="de-DE" sz="1800" b="0" dirty="0">
              <a:solidFill>
                <a:schemeClr val="accent2"/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Durch Mängel im Bildungssystem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>
                <a:sym typeface="Wingdings" panose="05000000000000000000" pitchFamily="2" charset="2"/>
              </a:rPr>
              <a:t>Bildungsarmut </a:t>
            </a:r>
            <a:r>
              <a:rPr lang="de-DE" sz="1800" b="0" dirty="0">
                <a:highlight>
                  <a:srgbClr val="FFFF00"/>
                </a:highlight>
                <a:sym typeface="Wingdings" panose="05000000000000000000" pitchFamily="2" charset="2"/>
              </a:rPr>
              <a:t>DEF</a:t>
            </a:r>
            <a:r>
              <a:rPr lang="de-DE" sz="1800" dirty="0">
                <a:sym typeface="Wingdings" panose="05000000000000000000" pitchFamily="2" charset="2"/>
              </a:rPr>
              <a:t> =  </a:t>
            </a:r>
            <a:r>
              <a:rPr lang="de-DE" sz="1800" b="0" dirty="0">
                <a:sym typeface="Wingdings" panose="05000000000000000000" pitchFamily="2" charset="2"/>
              </a:rPr>
              <a:t>Personen die </a:t>
            </a:r>
            <a:r>
              <a:rPr lang="de-DE" sz="1800" dirty="0">
                <a:sym typeface="Wingdings" panose="05000000000000000000" pitchFamily="2" charset="2"/>
              </a:rPr>
              <a:t>keinen höheren Sekundarabschluss </a:t>
            </a:r>
            <a:r>
              <a:rPr lang="de-DE" sz="1800" b="0" dirty="0">
                <a:sym typeface="Wingdings" panose="05000000000000000000" pitchFamily="2" charset="2"/>
              </a:rPr>
              <a:t>(oder keine angeschlossene Berufsausbildung) aufweisen oder nach dem </a:t>
            </a:r>
            <a:r>
              <a:rPr lang="de-DE" sz="1800" dirty="0">
                <a:sym typeface="Wingdings" panose="05000000000000000000" pitchFamily="2" charset="2"/>
              </a:rPr>
              <a:t>PISA-Test zur Risikogruppe </a:t>
            </a:r>
            <a:r>
              <a:rPr lang="de-DE" sz="1800" b="0" dirty="0">
                <a:sym typeface="Wingdings" panose="05000000000000000000" pitchFamily="2" charset="2"/>
              </a:rPr>
              <a:t>gehören (</a:t>
            </a:r>
            <a:r>
              <a:rPr lang="de-DE" sz="1600" b="0" dirty="0">
                <a:sym typeface="Wingdings" panose="05000000000000000000" pitchFamily="2" charset="2"/>
              </a:rPr>
              <a:t>Anger 2007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 Messbar also durch 1) </a:t>
            </a:r>
            <a:r>
              <a:rPr lang="de-DE" sz="1800" dirty="0">
                <a:sym typeface="Wingdings" panose="05000000000000000000" pitchFamily="2" charset="2"/>
              </a:rPr>
              <a:t>fehlende Zertifikate </a:t>
            </a:r>
            <a:r>
              <a:rPr lang="de-DE" sz="1800" b="0" dirty="0">
                <a:sym typeface="Wingdings" panose="05000000000000000000" pitchFamily="2" charset="2"/>
              </a:rPr>
              <a:t>oder 2) geringer </a:t>
            </a:r>
            <a:r>
              <a:rPr lang="de-DE" sz="1800" dirty="0">
                <a:sym typeface="Wingdings" panose="05000000000000000000" pitchFamily="2" charset="2"/>
              </a:rPr>
              <a:t>Kompetenz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Absolute Bildungsarmut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 funktionaler </a:t>
            </a:r>
            <a:r>
              <a:rPr lang="de-DE" sz="1800" dirty="0">
                <a:sym typeface="Wingdings" panose="05000000000000000000" pitchFamily="2" charset="2"/>
              </a:rPr>
              <a:t>Analphabetismus</a:t>
            </a:r>
            <a:r>
              <a:rPr lang="de-DE" sz="1800" b="0" dirty="0">
                <a:sym typeface="Wingdings" panose="05000000000000000000" pitchFamily="2" charset="2"/>
              </a:rPr>
              <a:t> oder fehlender </a:t>
            </a:r>
            <a:r>
              <a:rPr lang="de-DE" sz="1800" dirty="0">
                <a:sym typeface="Wingdings" panose="05000000000000000000" pitchFamily="2" charset="2"/>
              </a:rPr>
              <a:t>Schulabschluss </a:t>
            </a:r>
            <a:r>
              <a:rPr lang="de-DE" sz="1800" b="0" strike="sngStrike" dirty="0">
                <a:sym typeface="Wingdings" panose="05000000000000000000" pitchFamily="2" charset="2"/>
              </a:rPr>
              <a:t>(Haupts.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Relativer Bildungsarmut</a:t>
            </a:r>
            <a:endParaRPr lang="de-DE" sz="18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Unterdurchschnittliche </a:t>
            </a:r>
            <a:r>
              <a:rPr lang="de-DE" sz="1800" dirty="0">
                <a:sym typeface="Wingdings" panose="05000000000000000000" pitchFamily="2" charset="2"/>
              </a:rPr>
              <a:t>Leistungsfähigkeit/ Kompetenzen </a:t>
            </a:r>
            <a:r>
              <a:rPr lang="de-DE" sz="1800" b="0" dirty="0">
                <a:sym typeface="Wingdings" panose="05000000000000000000" pitchFamily="2" charset="2"/>
              </a:rPr>
              <a:t>oder geringfügige </a:t>
            </a:r>
            <a:r>
              <a:rPr lang="de-DE" sz="1800" dirty="0">
                <a:sym typeface="Wingdings" panose="05000000000000000000" pitchFamily="2" charset="2"/>
              </a:rPr>
              <a:t>Bildungsabschlüsse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i="1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4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D92C81D-98CB-D71D-004A-076036D9DB64}"/>
              </a:ext>
            </a:extLst>
          </p:cNvPr>
          <p:cNvSpPr/>
          <p:nvPr/>
        </p:nvSpPr>
        <p:spPr>
          <a:xfrm>
            <a:off x="5651848" y="717622"/>
            <a:ext cx="2952600" cy="46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Etwa 20% eines Geburtenjahrgangs</a:t>
            </a:r>
          </a:p>
        </p:txBody>
      </p:sp>
    </p:spTree>
    <p:extLst>
      <p:ext uri="{BB962C8B-B14F-4D97-AF65-F5344CB8AC3E}">
        <p14:creationId xmlns:p14="http://schemas.microsoft.com/office/powerpoint/2010/main" val="10463281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67826"/>
            <a:ext cx="8946536" cy="468000"/>
          </a:xfrm>
        </p:spPr>
        <p:txBody>
          <a:bodyPr/>
          <a:lstStyle/>
          <a:p>
            <a:r>
              <a:rPr lang="de-DE" dirty="0"/>
              <a:t> Bildungsungleichheiten: </a:t>
            </a:r>
            <a:r>
              <a:rPr lang="de-DE" dirty="0">
                <a:solidFill>
                  <a:schemeClr val="accent2"/>
                </a:solidFill>
              </a:rPr>
              <a:t>Theorie </a:t>
            </a:r>
            <a:r>
              <a:rPr lang="de-DE" dirty="0" err="1">
                <a:solidFill>
                  <a:schemeClr val="accent2"/>
                </a:solidFill>
              </a:rPr>
              <a:t>Boudon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403" y="615747"/>
            <a:ext cx="8659897" cy="3576195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Rational-Choice- Theorie </a:t>
            </a:r>
            <a:r>
              <a:rPr lang="de-DE" sz="1800" dirty="0">
                <a:sym typeface="Wingdings" panose="05000000000000000000" pitchFamily="2" charset="2"/>
              </a:rPr>
              <a:t>Abwägung von Kosten &amp; Nutzen </a:t>
            </a:r>
            <a:r>
              <a:rPr lang="de-DE" sz="1800" b="0" dirty="0">
                <a:sym typeface="Wingdings" panose="05000000000000000000" pitchFamily="2" charset="2"/>
              </a:rPr>
              <a:t>von </a:t>
            </a:r>
            <a:r>
              <a:rPr lang="de-DE" sz="1800" dirty="0">
                <a:sym typeface="Wingdings" panose="05000000000000000000" pitchFamily="2" charset="2"/>
              </a:rPr>
              <a:t>Bildungsalternativ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1)  Primärer</a:t>
            </a:r>
            <a:r>
              <a:rPr lang="de-DE" sz="1800" b="0" dirty="0">
                <a:sym typeface="Wingdings" panose="05000000000000000000" pitchFamily="2" charset="2"/>
              </a:rPr>
              <a:t> Herkunftseffek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= </a:t>
            </a:r>
            <a:r>
              <a:rPr lang="de-DE" sz="1800" dirty="0">
                <a:sym typeface="Wingdings" panose="05000000000000000000" pitchFamily="2" charset="2"/>
              </a:rPr>
              <a:t>Ungleiche Herkunftsbedingungen in Familien </a:t>
            </a:r>
            <a:r>
              <a:rPr lang="de-DE" sz="1800" b="0" dirty="0">
                <a:sym typeface="Wingdings" panose="05000000000000000000" pitchFamily="2" charset="2"/>
              </a:rPr>
              <a:t> Auswirkungen auf schulische </a:t>
            </a:r>
            <a:r>
              <a:rPr lang="de-DE" sz="1800" u="sng" dirty="0">
                <a:sym typeface="Wingdings" panose="05000000000000000000" pitchFamily="2" charset="2"/>
              </a:rPr>
              <a:t>Leistung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z.B.: Hausaufgabenhilfe, Bücher im Haushalt, Homeschooling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2)  Sekundärer</a:t>
            </a:r>
            <a:r>
              <a:rPr lang="de-DE" sz="1800" b="0" dirty="0">
                <a:sym typeface="Wingdings" panose="05000000000000000000" pitchFamily="2" charset="2"/>
              </a:rPr>
              <a:t> Herkunftseffek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= Bei </a:t>
            </a:r>
            <a:r>
              <a:rPr lang="de-DE" sz="1800" dirty="0">
                <a:sym typeface="Wingdings" panose="05000000000000000000" pitchFamily="2" charset="2"/>
              </a:rPr>
              <a:t>gleichen Leistungen </a:t>
            </a:r>
            <a:r>
              <a:rPr lang="de-DE" sz="1800" b="0" dirty="0">
                <a:sym typeface="Wingdings" panose="05000000000000000000" pitchFamily="2" charset="2"/>
              </a:rPr>
              <a:t>kommt es zu </a:t>
            </a:r>
            <a:r>
              <a:rPr lang="de-DE" sz="1800" dirty="0">
                <a:sym typeface="Wingdings" panose="05000000000000000000" pitchFamily="2" charset="2"/>
              </a:rPr>
              <a:t>Unterschieden </a:t>
            </a:r>
            <a:r>
              <a:rPr lang="de-DE" sz="1800" b="0" dirty="0">
                <a:sym typeface="Wingdings" panose="05000000000000000000" pitchFamily="2" charset="2"/>
              </a:rPr>
              <a:t>an</a:t>
            </a:r>
            <a:r>
              <a:rPr lang="de-DE" sz="1800" dirty="0">
                <a:sym typeface="Wingdings" panose="05000000000000000000" pitchFamily="2" charset="2"/>
              </a:rPr>
              <a:t> Bildungs</a:t>
            </a:r>
            <a:r>
              <a:rPr lang="de-DE" sz="1800" u="sng" dirty="0">
                <a:sym typeface="Wingdings" panose="05000000000000000000" pitchFamily="2" charset="2"/>
              </a:rPr>
              <a:t>entscheidungen</a:t>
            </a:r>
            <a:r>
              <a:rPr lang="de-DE" sz="1800" dirty="0">
                <a:sym typeface="Wingdings" panose="05000000000000000000" pitchFamily="2" charset="2"/>
              </a:rPr>
              <a:t> </a:t>
            </a:r>
            <a:r>
              <a:rPr lang="de-DE" sz="1800" b="0" dirty="0">
                <a:sym typeface="Wingdings" panose="05000000000000000000" pitchFamily="2" charset="2"/>
              </a:rPr>
              <a:t>(insbesondere an </a:t>
            </a:r>
            <a:r>
              <a:rPr lang="de-DE" sz="1800" dirty="0">
                <a:sym typeface="Wingdings" panose="05000000000000000000" pitchFamily="2" charset="2"/>
              </a:rPr>
              <a:t>Bildungsübergängen</a:t>
            </a:r>
            <a:r>
              <a:rPr lang="de-DE" sz="1800" b="0" dirty="0">
                <a:sym typeface="Wingdings" panose="05000000000000000000" pitchFamily="2" charset="2"/>
              </a:rPr>
              <a:t>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z.B.: Eltern sehen Studium als Belastung, Lehrer trauen Schüler nicht Gymnasium zu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i="1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5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2182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462" y="283500"/>
            <a:ext cx="8784520" cy="468000"/>
          </a:xfrm>
        </p:spPr>
        <p:txBody>
          <a:bodyPr/>
          <a:lstStyle/>
          <a:p>
            <a:r>
              <a:rPr lang="de-DE" sz="2800" b="0" dirty="0"/>
              <a:t>Chancenungleichheit:</a:t>
            </a:r>
            <a:br>
              <a:rPr lang="de-DE" sz="2800" b="0" dirty="0"/>
            </a:b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6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149A9D2-823C-2959-6654-07D87DE3C2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47562" y="517500"/>
            <a:ext cx="4382022" cy="407047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Tendenzen: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0" dirty="0"/>
              <a:t>Eltern Hauptschüler: 41% Kinder auch Hauptschüler, nur 6% auf dem Gymnasiasten 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0" dirty="0"/>
              <a:t>Eltern Abitur: 17% Schüler (nur) Hauptschulabschluss, 66% Schüler auch Abitur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0" dirty="0">
                <a:sym typeface="Wingdings" panose="05000000000000000000" pitchFamily="2" charset="2"/>
              </a:rPr>
              <a:t>Ohne Migrationshintergrund: 70% Gymnasium, nur 30% mit Migrationshintergrund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à"/>
            </a:pPr>
            <a:r>
              <a:rPr lang="de-DE" sz="1600" dirty="0">
                <a:solidFill>
                  <a:schemeClr val="accent2"/>
                </a:solidFill>
                <a:sym typeface="Wingdings" panose="05000000000000000000" pitchFamily="2" charset="2"/>
              </a:rPr>
              <a:t>Reproduktion des Bildungsniveaus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à"/>
            </a:pPr>
            <a:r>
              <a:rPr lang="de-DE" sz="1600" dirty="0">
                <a:sym typeface="Wingdings" panose="05000000000000000000" pitchFamily="2" charset="2"/>
              </a:rPr>
              <a:t>Bildungsmobilität</a:t>
            </a:r>
            <a:r>
              <a:rPr lang="de-DE" sz="1600" b="0" dirty="0">
                <a:sym typeface="Wingdings" panose="05000000000000000000" pitchFamily="2" charset="2"/>
              </a:rPr>
              <a:t>: </a:t>
            </a:r>
            <a:r>
              <a:rPr lang="de-DE" sz="1600" dirty="0">
                <a:solidFill>
                  <a:schemeClr val="accent2"/>
                </a:solidFill>
                <a:sym typeface="Wingdings" panose="05000000000000000000" pitchFamily="2" charset="2"/>
              </a:rPr>
              <a:t>Bildungsposition</a:t>
            </a:r>
            <a:r>
              <a:rPr lang="de-DE" sz="1600" b="0" dirty="0">
                <a:sym typeface="Wingdings" panose="05000000000000000000" pitchFamily="2" charset="2"/>
              </a:rPr>
              <a:t> zu 57% an Kindergeneration </a:t>
            </a:r>
            <a:r>
              <a:rPr lang="de-DE" sz="1600" dirty="0">
                <a:solidFill>
                  <a:schemeClr val="accent2"/>
                </a:solidFill>
                <a:sym typeface="Wingdings" panose="05000000000000000000" pitchFamily="2" charset="2"/>
              </a:rPr>
              <a:t>übertragen</a:t>
            </a:r>
            <a:r>
              <a:rPr lang="de-DE" sz="1600" b="0" dirty="0">
                <a:sym typeface="Wingdings" panose="05000000000000000000" pitchFamily="2" charset="2"/>
              </a:rPr>
              <a:t> (OECD, 2015)</a:t>
            </a:r>
            <a:endParaRPr lang="de-DE" sz="1600" b="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58F24C7-3004-63B7-8FF0-40FDF94725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21" y="1110142"/>
            <a:ext cx="4701224" cy="1438164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4CDD3346-8802-2A30-DC80-9D88DBEEE0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01" y="3036756"/>
            <a:ext cx="4839988" cy="1454835"/>
          </a:xfrm>
          <a:prstGeom prst="rect">
            <a:avLst/>
          </a:prstGeom>
        </p:spPr>
      </p:pic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632169B1-DF06-36C9-5F31-5FB0800BA644}"/>
              </a:ext>
            </a:extLst>
          </p:cNvPr>
          <p:cNvSpPr txBox="1">
            <a:spLocks/>
          </p:cNvSpPr>
          <p:nvPr/>
        </p:nvSpPr>
        <p:spPr>
          <a:xfrm>
            <a:off x="272104" y="843558"/>
            <a:ext cx="4382022" cy="34937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SzPct val="75000"/>
              <a:buFont typeface="Arial" panose="020B0604020202020204" pitchFamily="34" charset="0"/>
              <a:buNone/>
              <a:defRPr sz="15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+mj-lt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Schichtzugehörigkeit:</a:t>
            </a:r>
            <a:endParaRPr lang="de-DE" sz="20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20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20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20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Migrationshintergrund:</a:t>
            </a:r>
          </a:p>
        </p:txBody>
      </p:sp>
    </p:spTree>
    <p:extLst>
      <p:ext uri="{BB962C8B-B14F-4D97-AF65-F5344CB8AC3E}">
        <p14:creationId xmlns:p14="http://schemas.microsoft.com/office/powerpoint/2010/main" val="7673073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67826"/>
            <a:ext cx="8946536" cy="468000"/>
          </a:xfrm>
        </p:spPr>
        <p:txBody>
          <a:bodyPr/>
          <a:lstStyle/>
          <a:p>
            <a:r>
              <a:rPr lang="de-DE" dirty="0"/>
              <a:t> Bildungsungleichheiten: </a:t>
            </a:r>
            <a:r>
              <a:rPr lang="de-DE" dirty="0">
                <a:solidFill>
                  <a:schemeClr val="accent2"/>
                </a:solidFill>
              </a:rPr>
              <a:t>Theorie </a:t>
            </a:r>
            <a:r>
              <a:rPr lang="de-DE" dirty="0" err="1">
                <a:solidFill>
                  <a:schemeClr val="accent2"/>
                </a:solidFill>
              </a:rPr>
              <a:t>Boudon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403" y="635826"/>
            <a:ext cx="8707597" cy="3576195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Vererbung von Bildungsungleichheite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Bildungserfolg ist weiterhin stark </a:t>
            </a:r>
            <a:r>
              <a:rPr lang="de-DE" sz="1800" dirty="0">
                <a:sym typeface="Wingdings" panose="05000000000000000000" pitchFamily="2" charset="2"/>
              </a:rPr>
              <a:t>von sozialer Herkunft abhängig  „</a:t>
            </a:r>
            <a:r>
              <a:rPr lang="de-DE" sz="1800" b="0" dirty="0">
                <a:sym typeface="Wingdings" panose="05000000000000000000" pitchFamily="2" charset="2"/>
              </a:rPr>
              <a:t>Mitarbeit der Eltern“ beeinflusst Schulerfolg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Dabei </a:t>
            </a:r>
            <a:r>
              <a:rPr lang="de-DE" sz="1800" dirty="0">
                <a:sym typeface="Wingdings" panose="05000000000000000000" pitchFamily="2" charset="2"/>
              </a:rPr>
              <a:t>Bildungsniveau Eltern </a:t>
            </a:r>
            <a:r>
              <a:rPr lang="de-DE" sz="1800" b="0" dirty="0">
                <a:sym typeface="Wingdings" panose="05000000000000000000" pitchFamily="2" charset="2"/>
              </a:rPr>
              <a:t>wichtiger als sozioökonomische Ressourc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 Mögliche </a:t>
            </a: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Lösungsansätze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olidFill>
                <a:schemeClr val="accent2"/>
              </a:solidFill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                 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                                                                                                     </a:t>
            </a:r>
            <a:r>
              <a:rPr lang="de-DE" sz="1800" b="0" dirty="0">
                <a:sym typeface="Wingdings" panose="05000000000000000000" pitchFamily="2" charset="2"/>
              </a:rPr>
              <a:t>Kompensation von                                                                                                                                                                     .                                                                                                      familiären Nachteil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olidFill>
                <a:schemeClr val="accent2"/>
              </a:solidFill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i="1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7</a:t>
            </a:fld>
            <a:r>
              <a:rPr lang="de-DE"/>
              <a:t> </a:t>
            </a:r>
            <a:endParaRPr lang="de-DE" dirty="0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0AC7415C-1013-1335-FB04-72966AB9B7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5507618"/>
              </p:ext>
            </p:extLst>
          </p:nvPr>
        </p:nvGraphicFramePr>
        <p:xfrm>
          <a:off x="457505" y="2447546"/>
          <a:ext cx="6408712" cy="19480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08712">
                  <a:extLst>
                    <a:ext uri="{9D8B030D-6E8A-4147-A177-3AD203B41FA5}">
                      <a16:colId xmlns:a16="http://schemas.microsoft.com/office/drawing/2014/main" val="1228062081"/>
                    </a:ext>
                  </a:extLst>
                </a:gridCol>
              </a:tblGrid>
              <a:tr h="388285">
                <a:tc>
                  <a:txBody>
                    <a:bodyPr/>
                    <a:lstStyle/>
                    <a:p>
                      <a:r>
                        <a:rPr lang="de-DE" sz="1800" dirty="0"/>
                        <a:t>Ideen: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3986925"/>
                  </a:ext>
                </a:extLst>
              </a:tr>
              <a:tr h="433451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0528969"/>
                  </a:ext>
                </a:extLst>
              </a:tr>
              <a:tr h="458890">
                <a:tc>
                  <a:txBody>
                    <a:bodyPr/>
                    <a:lstStyle/>
                    <a:p>
                      <a:endParaRPr lang="de-DE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702576"/>
                  </a:ext>
                </a:extLst>
              </a:tr>
              <a:tr h="667401">
                <a:tc>
                  <a:txBody>
                    <a:bodyPr/>
                    <a:lstStyle/>
                    <a:p>
                      <a:endParaRPr lang="de-DE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0616315"/>
                  </a:ext>
                </a:extLst>
              </a:tr>
            </a:tbl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11842D39-157F-793C-A6D1-678ECB2CA94A}"/>
              </a:ext>
            </a:extLst>
          </p:cNvPr>
          <p:cNvSpPr txBox="1"/>
          <p:nvPr/>
        </p:nvSpPr>
        <p:spPr>
          <a:xfrm>
            <a:off x="556326" y="2898339"/>
            <a:ext cx="53838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dirty="0"/>
              <a:t>1) </a:t>
            </a:r>
            <a:r>
              <a:rPr lang="de-DE" sz="1800" b="1" dirty="0"/>
              <a:t>Frühförderung</a:t>
            </a:r>
            <a:r>
              <a:rPr lang="de-DE" sz="1800" dirty="0"/>
              <a:t> im Elementarbereich</a:t>
            </a:r>
            <a:endParaRPr lang="de-DE" sz="16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14E19E3-6F43-745E-3AF9-E1592EC9984A}"/>
              </a:ext>
            </a:extLst>
          </p:cNvPr>
          <p:cNvSpPr txBox="1"/>
          <p:nvPr/>
        </p:nvSpPr>
        <p:spPr>
          <a:xfrm>
            <a:off x="576000" y="3331710"/>
            <a:ext cx="53838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2) </a:t>
            </a:r>
            <a:r>
              <a:rPr lang="de-DE" sz="1600" b="1" dirty="0"/>
              <a:t>Ganztagsbeschulung</a:t>
            </a:r>
          </a:p>
          <a:p>
            <a:endParaRPr lang="de-DE" sz="16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36381CA-9B10-B907-5D64-4C95052A498C}"/>
              </a:ext>
            </a:extLst>
          </p:cNvPr>
          <p:cNvSpPr txBox="1"/>
          <p:nvPr/>
        </p:nvSpPr>
        <p:spPr>
          <a:xfrm>
            <a:off x="556326" y="3796522"/>
            <a:ext cx="53838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3) </a:t>
            </a:r>
            <a:r>
              <a:rPr lang="de-DE" sz="1600" b="1" dirty="0"/>
              <a:t>Veränderung</a:t>
            </a:r>
            <a:r>
              <a:rPr lang="de-DE" sz="1600" dirty="0"/>
              <a:t> der </a:t>
            </a:r>
            <a:r>
              <a:rPr lang="de-DE" sz="1600" b="1" dirty="0"/>
              <a:t>Bildungsübergänge</a:t>
            </a:r>
            <a:r>
              <a:rPr lang="de-DE" sz="1600" dirty="0"/>
              <a:t>, Abschaffung der frühen Dreigliederung </a:t>
            </a:r>
            <a:r>
              <a:rPr lang="de-DE" sz="1600" dirty="0">
                <a:sym typeface="Wingdings" panose="05000000000000000000" pitchFamily="2" charset="2"/>
              </a:rPr>
              <a:t> Länger </a:t>
            </a:r>
            <a:r>
              <a:rPr lang="de-DE" sz="1600" b="1" dirty="0">
                <a:sym typeface="Wingdings" panose="05000000000000000000" pitchFamily="2" charset="2"/>
              </a:rPr>
              <a:t>gemeinsam Lernen</a:t>
            </a:r>
            <a:endParaRPr lang="de-DE" sz="1600" b="1" dirty="0"/>
          </a:p>
          <a:p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2420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rnziele: zwölfte Sitzu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68" y="1131590"/>
            <a:ext cx="8676736" cy="3795982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Sie kennen </a:t>
            </a:r>
            <a:r>
              <a:rPr lang="de-DE" sz="1800" dirty="0"/>
              <a:t>zentrale Begrifflichkeiten </a:t>
            </a:r>
            <a:r>
              <a:rPr lang="de-DE" sz="1800" b="0" dirty="0"/>
              <a:t>der Bildungssoziologie, z.B. Bildung, Erziehung, Sozialisation und Meritokratie, und können diese </a:t>
            </a:r>
            <a:r>
              <a:rPr lang="de-DE" sz="1800" dirty="0"/>
              <a:t>definieren</a:t>
            </a:r>
            <a:r>
              <a:rPr lang="de-DE" sz="1800" b="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Sie kennen </a:t>
            </a:r>
            <a:r>
              <a:rPr lang="de-DE" sz="1800" dirty="0"/>
              <a:t>eine zentrale Theorie </a:t>
            </a:r>
            <a:r>
              <a:rPr lang="de-DE" sz="1800" b="0" dirty="0"/>
              <a:t>zur Erklärung </a:t>
            </a:r>
            <a:r>
              <a:rPr lang="de-DE" sz="1800" dirty="0"/>
              <a:t>von Bildungsungleichheit</a:t>
            </a:r>
            <a:r>
              <a:rPr lang="de-DE" sz="1800" b="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Sie kennen die </a:t>
            </a:r>
            <a:r>
              <a:rPr lang="de-DE" sz="1800" dirty="0"/>
              <a:t>hauptsächlichen Kategorien</a:t>
            </a:r>
            <a:r>
              <a:rPr lang="de-DE" sz="1800" b="0" dirty="0"/>
              <a:t>, die </a:t>
            </a:r>
            <a:r>
              <a:rPr lang="de-DE" sz="1800" dirty="0"/>
              <a:t>Bildungsungleichheiten</a:t>
            </a:r>
            <a:r>
              <a:rPr lang="de-DE" sz="1800" b="0" dirty="0"/>
              <a:t> </a:t>
            </a:r>
            <a:r>
              <a:rPr lang="de-DE" sz="1800" dirty="0"/>
              <a:t>begründen</a:t>
            </a:r>
            <a:r>
              <a:rPr lang="de-DE" sz="1800" b="0" dirty="0"/>
              <a:t>, und können erläutern, </a:t>
            </a:r>
            <a:r>
              <a:rPr lang="de-DE" sz="1800" dirty="0"/>
              <a:t>wie</a:t>
            </a:r>
            <a:r>
              <a:rPr lang="de-DE" sz="1800" b="0" dirty="0"/>
              <a:t> sich Bildungsungleichheiten im Zuge der </a:t>
            </a:r>
            <a:r>
              <a:rPr lang="de-DE" sz="1800" dirty="0"/>
              <a:t>Bildungsexpansion</a:t>
            </a:r>
            <a:r>
              <a:rPr lang="de-DE" sz="1800" b="0" dirty="0"/>
              <a:t> </a:t>
            </a:r>
            <a:r>
              <a:rPr lang="de-DE" sz="1800" dirty="0"/>
              <a:t>verändert</a:t>
            </a:r>
            <a:r>
              <a:rPr lang="de-DE" sz="1800" b="0" dirty="0"/>
              <a:t> hab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8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49567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blick: nächste Sitzu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8280464" cy="3366000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b="0" strike="sngStrike" dirty="0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endParaRPr lang="de-DE" sz="1800" b="0" dirty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9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CD78BF-FD21-4273-AC08-8CC747F9071D}"/>
              </a:ext>
            </a:extLst>
          </p:cNvPr>
          <p:cNvSpPr txBox="1"/>
          <p:nvPr/>
        </p:nvSpPr>
        <p:spPr>
          <a:xfrm>
            <a:off x="537190" y="1059582"/>
            <a:ext cx="7421619" cy="1287532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Was kommt…?</a:t>
            </a:r>
          </a:p>
          <a:p>
            <a:pPr>
              <a:lnSpc>
                <a:spcPct val="150000"/>
              </a:lnSpc>
            </a:pPr>
            <a:endParaRPr lang="de-DE" sz="180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tx2"/>
                </a:solidFill>
              </a:rPr>
              <a:t>Arbeitsmarkt und Erwerbsstruktur</a:t>
            </a:r>
          </a:p>
        </p:txBody>
      </p:sp>
    </p:spTree>
    <p:extLst>
      <p:ext uri="{BB962C8B-B14F-4D97-AF65-F5344CB8AC3E}">
        <p14:creationId xmlns:p14="http://schemas.microsoft.com/office/powerpoint/2010/main" val="24564136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738" y="121117"/>
            <a:ext cx="7560000" cy="468000"/>
          </a:xfrm>
        </p:spPr>
        <p:txBody>
          <a:bodyPr/>
          <a:lstStyle/>
          <a:p>
            <a:r>
              <a:rPr lang="de-DE" dirty="0"/>
              <a:t>Bildung: Defini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686694"/>
            <a:ext cx="8659897" cy="2029071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Bildung </a:t>
            </a:r>
            <a:r>
              <a:rPr lang="de-DE" sz="1800" b="0" dirty="0">
                <a:highlight>
                  <a:srgbClr val="FFFF00"/>
                </a:highlight>
              </a:rPr>
              <a:t>DEF</a:t>
            </a:r>
            <a:r>
              <a:rPr lang="de-DE" sz="1800" b="0" dirty="0"/>
              <a:t>= Entwicklung von Individuen zu Handlungsfähigkei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sym typeface="Wingdings" panose="05000000000000000000" pitchFamily="2" charset="2"/>
              </a:rPr>
              <a:t>Formell</a:t>
            </a:r>
            <a:r>
              <a:rPr lang="de-DE" sz="1800" b="0" dirty="0">
                <a:sym typeface="Wingdings" panose="05000000000000000000" pitchFamily="2" charset="2"/>
              </a:rPr>
              <a:t>: Erwerb formeller Qualifikation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sym typeface="Wingdings" panose="05000000000000000000" pitchFamily="2" charset="2"/>
              </a:rPr>
              <a:t>Nicht-formell</a:t>
            </a:r>
            <a:r>
              <a:rPr lang="de-DE" sz="1800" b="0" dirty="0">
                <a:sym typeface="Wingdings" panose="05000000000000000000" pitchFamily="2" charset="2"/>
              </a:rPr>
              <a:t>: offene Angebotslage &amp; Freiwilligkei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sym typeface="Wingdings" panose="05000000000000000000" pitchFamily="2" charset="2"/>
              </a:rPr>
              <a:t>Informell</a:t>
            </a:r>
            <a:r>
              <a:rPr lang="de-DE" sz="1800" b="0" dirty="0">
                <a:sym typeface="Wingdings" panose="05000000000000000000" pitchFamily="2" charset="2"/>
              </a:rPr>
              <a:t>: situative &amp; ungeplante Lernprozesse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                              Systematische Unterscheidung zu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4354973A-0B3E-EA10-ACE8-6FCA69852F87}"/>
              </a:ext>
            </a:extLst>
          </p:cNvPr>
          <p:cNvSpPr txBox="1">
            <a:spLocks/>
          </p:cNvSpPr>
          <p:nvPr/>
        </p:nvSpPr>
        <p:spPr>
          <a:xfrm>
            <a:off x="468738" y="3075806"/>
            <a:ext cx="8659897" cy="2569119"/>
          </a:xfrm>
          <a:prstGeom prst="rect">
            <a:avLst/>
          </a:prstGeom>
        </p:spPr>
        <p:txBody>
          <a:bodyPr vert="horz" lIns="0" tIns="0" rIns="0" bIns="0" numCol="2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SzPct val="75000"/>
              <a:buFont typeface="Arial" panose="020B0604020202020204" pitchFamily="34" charset="0"/>
              <a:buNone/>
              <a:defRPr sz="15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+mj-lt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sym typeface="Wingdings" panose="05000000000000000000" pitchFamily="2" charset="2"/>
              </a:rPr>
              <a:t>Erziehung</a:t>
            </a: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1) Geplante Einflussnahme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2) Eigene Begriffe seit 18 Jhd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sym typeface="Wingdings" panose="05000000000000000000" pitchFamily="2" charset="2"/>
              </a:rPr>
              <a:t>Sozialisatio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1) Lebenslange Eingliederung sozialer Normen, Rollenerwartungen und Fähigkeiten </a:t>
            </a:r>
            <a:endParaRPr lang="de-DE" sz="2400" b="0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022998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938424" cy="468000"/>
          </a:xfrm>
        </p:spPr>
        <p:txBody>
          <a:bodyPr/>
          <a:lstStyle/>
          <a:p>
            <a:r>
              <a:rPr lang="de-DE" dirty="0"/>
              <a:t>Struktur des Bildungssystems: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0</a:t>
            </a:fld>
            <a:r>
              <a:rPr lang="de-DE"/>
              <a:t> </a:t>
            </a:r>
            <a:endParaRPr lang="de-DE" dirty="0"/>
          </a:p>
        </p:txBody>
      </p:sp>
      <p:graphicFrame>
        <p:nvGraphicFramePr>
          <p:cNvPr id="9" name="Tabelle 9">
            <a:extLst>
              <a:ext uri="{FF2B5EF4-FFF2-40B4-BE49-F238E27FC236}">
                <a16:creationId xmlns:a16="http://schemas.microsoft.com/office/drawing/2014/main" id="{5C0BD506-0AC4-2E13-FC3C-DAF16F588E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9599785"/>
              </p:ext>
            </p:extLst>
          </p:nvPr>
        </p:nvGraphicFramePr>
        <p:xfrm>
          <a:off x="70571" y="637158"/>
          <a:ext cx="5499731" cy="3840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3905">
                  <a:extLst>
                    <a:ext uri="{9D8B030D-6E8A-4147-A177-3AD203B41FA5}">
                      <a16:colId xmlns:a16="http://schemas.microsoft.com/office/drawing/2014/main" val="1241950782"/>
                    </a:ext>
                  </a:extLst>
                </a:gridCol>
                <a:gridCol w="4435826">
                  <a:extLst>
                    <a:ext uri="{9D8B030D-6E8A-4147-A177-3AD203B41FA5}">
                      <a16:colId xmlns:a16="http://schemas.microsoft.com/office/drawing/2014/main" val="214785119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Zentrale Elemen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ufgabe / Funktione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1277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1) Elementar-berei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Kindertageseinrichtung</a:t>
                      </a:r>
                    </a:p>
                    <a:p>
                      <a:r>
                        <a:rPr lang="de-DE" dirty="0"/>
                        <a:t>Von wenigen Monaten bis Schulbeginn</a:t>
                      </a:r>
                    </a:p>
                    <a:p>
                      <a:r>
                        <a:rPr lang="de-DE" dirty="0"/>
                        <a:t>Freiwilligke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0153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2) Primär-berei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bschluss der Grundschule nach 4 Klasse </a:t>
                      </a:r>
                    </a:p>
                    <a:p>
                      <a:r>
                        <a:rPr lang="de-DE" dirty="0"/>
                        <a:t>Aufteilungsfunktion auf Schulform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98455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3) Sekundar-berei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Hauptschullabschluss als erster allgemeiner           Schulabschluss nach 9 Jahren oder Realschul-                    </a:t>
                      </a:r>
                      <a:r>
                        <a:rPr lang="de-DE" dirty="0" err="1"/>
                        <a:t>abschluss</a:t>
                      </a:r>
                      <a:r>
                        <a:rPr lang="de-DE" dirty="0"/>
                        <a:t> nach 10 J (heute meist Mindeststandar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18029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4) Sekundar-bereich I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Sehr heterogen</a:t>
                      </a:r>
                    </a:p>
                    <a:p>
                      <a:r>
                        <a:rPr lang="de-DE" dirty="0"/>
                        <a:t>Gliederung in Fachabitur oder Abitur</a:t>
                      </a:r>
                    </a:p>
                    <a:p>
                      <a:r>
                        <a:rPr lang="de-DE" dirty="0"/>
                        <a:t>Auch berufliche Ausbildungen &amp; duale System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48586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5) Tertiärer-berei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Hochschule mit variierenden Zugangsvoraussetzungen </a:t>
                      </a:r>
                    </a:p>
                    <a:p>
                      <a:r>
                        <a:rPr lang="de-DE" dirty="0"/>
                        <a:t>Verschiedene Abschlüsse (BA, MA, Doktor…)</a:t>
                      </a:r>
                    </a:p>
                    <a:p>
                      <a:r>
                        <a:rPr lang="de-DE" dirty="0"/>
                        <a:t>Auch Weiterbildungsberei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675953"/>
                  </a:ext>
                </a:extLst>
              </a:tr>
            </a:tbl>
          </a:graphicData>
        </a:graphic>
      </p:graphicFrame>
      <p:pic>
        <p:nvPicPr>
          <p:cNvPr id="6" name="Picture 8" descr="Bildungsbericht_XII">
            <a:extLst>
              <a:ext uri="{FF2B5EF4-FFF2-40B4-BE49-F238E27FC236}">
                <a16:creationId xmlns:a16="http://schemas.microsoft.com/office/drawing/2014/main" id="{75B6F505-4B96-7C83-D821-D360C0704443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44405" y="-92546"/>
            <a:ext cx="3655190" cy="5178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42610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560000" cy="468000"/>
          </a:xfrm>
        </p:spPr>
        <p:txBody>
          <a:bodyPr/>
          <a:lstStyle/>
          <a:p>
            <a:r>
              <a:rPr lang="de-DE" dirty="0"/>
              <a:t>Bildung: Funktionen für moderne Gesellschaf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747087"/>
            <a:ext cx="8659897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7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7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7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7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7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7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7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3</a:t>
            </a:fld>
            <a:r>
              <a:rPr lang="de-DE"/>
              <a:t> </a:t>
            </a:r>
            <a:endParaRPr lang="de-DE" dirty="0"/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D633BC94-C973-7B55-C88D-C55EB5D08C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6158837"/>
              </p:ext>
            </p:extLst>
          </p:nvPr>
        </p:nvGraphicFramePr>
        <p:xfrm>
          <a:off x="337672" y="768503"/>
          <a:ext cx="8266776" cy="3342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94168">
                  <a:extLst>
                    <a:ext uri="{9D8B030D-6E8A-4147-A177-3AD203B41FA5}">
                      <a16:colId xmlns:a16="http://schemas.microsoft.com/office/drawing/2014/main" val="2087707682"/>
                    </a:ext>
                  </a:extLst>
                </a:gridCol>
                <a:gridCol w="5472608">
                  <a:extLst>
                    <a:ext uri="{9D8B030D-6E8A-4147-A177-3AD203B41FA5}">
                      <a16:colId xmlns:a16="http://schemas.microsoft.com/office/drawing/2014/main" val="415774295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Funktionen </a:t>
                      </a:r>
                    </a:p>
                  </a:txBody>
                  <a:tcP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99644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Staat</a:t>
                      </a: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:</a:t>
                      </a:r>
                    </a:p>
                    <a:p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Vertikale soziale Mobilität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AutoNum type="arabicParenR"/>
                      </a:pP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Qualifikationsfunktion</a:t>
                      </a: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de-DE" dirty="0">
                        <a:solidFill>
                          <a:schemeClr val="bg1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2)  Sozialisationsfunktion</a:t>
                      </a: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de-DE" dirty="0">
                        <a:solidFill>
                          <a:schemeClr val="bg1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3)  Selektionsfunktion</a:t>
                      </a: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de-DE" b="1" dirty="0">
                        <a:solidFill>
                          <a:schemeClr val="bg1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de-DE" b="1" dirty="0">
                        <a:solidFill>
                          <a:schemeClr val="bg1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4)  Platzierungsfunktion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de-DE" b="1" dirty="0">
                        <a:solidFill>
                          <a:schemeClr val="bg1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de-DE" b="1" dirty="0">
                        <a:solidFill>
                          <a:schemeClr val="bg1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5)  Legitimationsfunktion</a:t>
                      </a: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de-DE" dirty="0">
                        <a:solidFill>
                          <a:schemeClr val="bg1"/>
                        </a:solidFill>
                      </a:endParaRPr>
                    </a:p>
                    <a:p>
                      <a:pPr marL="342900" indent="-342900">
                        <a:buFont typeface="Arial" panose="020B0604020202020204" pitchFamily="34" charset="0"/>
                        <a:buAutoNum type="arabicParenR"/>
                      </a:pP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7103552"/>
                  </a:ext>
                </a:extLst>
              </a:tr>
            </a:tbl>
          </a:graphicData>
        </a:graphic>
      </p:graphicFrame>
      <p:pic>
        <p:nvPicPr>
          <p:cNvPr id="9" name="Grafik 8" descr="Ausrufezeichen mit einfarbiger Füllung">
            <a:extLst>
              <a:ext uri="{FF2B5EF4-FFF2-40B4-BE49-F238E27FC236}">
                <a16:creationId xmlns:a16="http://schemas.microsoft.com/office/drawing/2014/main" id="{439764E5-573F-B1AB-0343-7E087F26FC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43552" y="1545971"/>
            <a:ext cx="673224" cy="673224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441FB1EE-852B-3BE7-5F3F-E36E2993F6B2}"/>
              </a:ext>
            </a:extLst>
          </p:cNvPr>
          <p:cNvSpPr txBox="1"/>
          <p:nvPr/>
        </p:nvSpPr>
        <p:spPr>
          <a:xfrm>
            <a:off x="3209792" y="1559426"/>
            <a:ext cx="536504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= Erwerb von Qualifikationen für den Arbeitsmark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96CE75F-3162-7494-ACBD-CEFD395B1775}"/>
              </a:ext>
            </a:extLst>
          </p:cNvPr>
          <p:cNvSpPr txBox="1"/>
          <p:nvPr/>
        </p:nvSpPr>
        <p:spPr>
          <a:xfrm>
            <a:off x="3209792" y="1970769"/>
            <a:ext cx="536504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= Internalisierung von Normen, Rollenerwartungen &amp; Fähigkeit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772CAA5-B9A7-42E4-AC43-DDC7AEDF44F3}"/>
              </a:ext>
            </a:extLst>
          </p:cNvPr>
          <p:cNvSpPr txBox="1"/>
          <p:nvPr/>
        </p:nvSpPr>
        <p:spPr>
          <a:xfrm>
            <a:off x="3197478" y="2374692"/>
            <a:ext cx="603005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de-DE" dirty="0">
                <a:solidFill>
                  <a:schemeClr val="bg1"/>
                </a:solidFill>
              </a:rPr>
              <a:t>= Auswahl/ Sortierung durch Leistung (z.B. Noten, Hochschulzugang)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dirty="0">
                <a:solidFill>
                  <a:schemeClr val="bg1"/>
                </a:solidFill>
                <a:sym typeface="Wingdings" panose="05000000000000000000" pitchFamily="2" charset="2"/>
              </a:rPr>
              <a:t> An den Übergangsstufe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34D09D3-7334-9F44-88A3-5818E8AA2FA6}"/>
              </a:ext>
            </a:extLst>
          </p:cNvPr>
          <p:cNvSpPr txBox="1"/>
          <p:nvPr/>
        </p:nvSpPr>
        <p:spPr>
          <a:xfrm>
            <a:off x="3186334" y="3010118"/>
            <a:ext cx="5365040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de-DE" dirty="0">
                <a:solidFill>
                  <a:schemeClr val="bg1"/>
                </a:solidFill>
              </a:rPr>
              <a:t>=  Positionierung in der sozialen Hierarchie (durch Zugang zu verschiedenen Berufen/ sozialen Positionen) </a:t>
            </a:r>
            <a:r>
              <a:rPr lang="de-DE" dirty="0">
                <a:solidFill>
                  <a:schemeClr val="bg1"/>
                </a:solidFill>
                <a:sym typeface="Wingdings" panose="05000000000000000000" pitchFamily="2" charset="2"/>
              </a:rPr>
              <a:t> Statuszuweisung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3269F6B-CF23-6083-725D-65AA4612C18F}"/>
              </a:ext>
            </a:extLst>
          </p:cNvPr>
          <p:cNvSpPr txBox="1"/>
          <p:nvPr/>
        </p:nvSpPr>
        <p:spPr>
          <a:xfrm>
            <a:off x="3209792" y="3659416"/>
            <a:ext cx="5365040" cy="7155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= Legitimität der sozialen Platzierung (Ungleichheit) in der Gesellschaft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dirty="0">
              <a:solidFill>
                <a:schemeClr val="bg1"/>
              </a:solidFill>
              <a:sym typeface="Wingdings" panose="05000000000000000000" pitchFamily="2" charset="2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6D6F7D3-EFDE-5EAE-A069-7AD9AE60B29F}"/>
              </a:ext>
            </a:extLst>
          </p:cNvPr>
          <p:cNvSpPr txBox="1"/>
          <p:nvPr/>
        </p:nvSpPr>
        <p:spPr>
          <a:xfrm>
            <a:off x="-3746388" y="-596602"/>
            <a:ext cx="2341724" cy="2456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F65BE95-D7DD-C6E5-7962-1FB9A229A493}"/>
              </a:ext>
            </a:extLst>
          </p:cNvPr>
          <p:cNvSpPr txBox="1"/>
          <p:nvPr/>
        </p:nvSpPr>
        <p:spPr>
          <a:xfrm>
            <a:off x="388564" y="1439820"/>
            <a:ext cx="2645699" cy="1962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1"/>
                </a:solidFill>
              </a:rPr>
              <a:t>Vollinklusion der Bevölkeru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chemeClr val="bg1"/>
                </a:solidFill>
              </a:rPr>
              <a:t>Ausgleich von gröbsten Ungleichheit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1"/>
                </a:solidFill>
              </a:rPr>
              <a:t>Disziplinierung der Bevölkerung (</a:t>
            </a:r>
            <a:r>
              <a:rPr lang="de-DE" b="1" dirty="0">
                <a:solidFill>
                  <a:schemeClr val="bg1"/>
                </a:solidFill>
              </a:rPr>
              <a:t>Demokratisierung</a:t>
            </a:r>
            <a:r>
              <a:rPr lang="de-DE" dirty="0">
                <a:solidFill>
                  <a:schemeClr val="bg1"/>
                </a:solidFill>
              </a:rPr>
              <a:t> der Gesellschaft)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31997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10" grpId="0"/>
      <p:bldP spid="12" grpId="0"/>
      <p:bldP spid="13" grpId="0"/>
      <p:bldP spid="1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938424" cy="468000"/>
          </a:xfrm>
        </p:spPr>
        <p:txBody>
          <a:bodyPr/>
          <a:lstStyle/>
          <a:p>
            <a:r>
              <a:rPr lang="de-DE" dirty="0"/>
              <a:t>Meritokratisches Prinzi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0515" y="760244"/>
            <a:ext cx="8659897" cy="4056384"/>
          </a:xfrm>
        </p:spPr>
        <p:txBody>
          <a:bodyPr/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 In DE Prinzip der Chancengleichheit – jedoch durch Meritokratisches Prinzip aufgehebelt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Meritokratie </a:t>
            </a:r>
            <a:r>
              <a:rPr lang="de-DE" sz="1800" b="0" dirty="0">
                <a:highlight>
                  <a:srgbClr val="FFFF00"/>
                </a:highlight>
                <a:sym typeface="Wingdings" panose="05000000000000000000" pitchFamily="2" charset="2"/>
              </a:rPr>
              <a:t>DEF</a:t>
            </a:r>
            <a:r>
              <a:rPr lang="de-DE" sz="1800" b="0" dirty="0">
                <a:sym typeface="Wingdings" panose="05000000000000000000" pitchFamily="2" charset="2"/>
              </a:rPr>
              <a:t>= </a:t>
            </a:r>
            <a:r>
              <a:rPr lang="de-DE" sz="1800" dirty="0">
                <a:sym typeface="Wingdings" panose="05000000000000000000" pitchFamily="2" charset="2"/>
              </a:rPr>
              <a:t>Selektion von Individuen </a:t>
            </a:r>
            <a:r>
              <a:rPr lang="de-DE" sz="1800" b="0" dirty="0">
                <a:sym typeface="Wingdings" panose="05000000000000000000" pitchFamily="2" charset="2"/>
              </a:rPr>
              <a:t>für Bildungsmöglichkeiten/ Jobs erfolgt </a:t>
            </a:r>
            <a:r>
              <a:rPr lang="de-DE" sz="1800" dirty="0">
                <a:sym typeface="Wingdings" panose="05000000000000000000" pitchFamily="2" charset="2"/>
              </a:rPr>
              <a:t>durch</a:t>
            </a:r>
            <a:r>
              <a:rPr lang="de-DE" sz="1800" b="0" dirty="0">
                <a:sym typeface="Wingdings" panose="05000000000000000000" pitchFamily="2" charset="2"/>
              </a:rPr>
              <a:t> </a:t>
            </a:r>
            <a:r>
              <a:rPr lang="de-DE" sz="1800" dirty="0">
                <a:sym typeface="Wingdings" panose="05000000000000000000" pitchFamily="2" charset="2"/>
              </a:rPr>
              <a:t>demonstrierte Leistungen </a:t>
            </a:r>
            <a:r>
              <a:rPr lang="de-DE" sz="1800" b="0" dirty="0">
                <a:sym typeface="Wingdings" panose="05000000000000000000" pitchFamily="2" charset="2"/>
              </a:rPr>
              <a:t>vom Individuum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Begehrte Positionen vergeben durch:</a:t>
            </a:r>
          </a:p>
          <a:p>
            <a:pPr marL="519750" lvl="2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400" b="0" dirty="0">
                <a:sym typeface="Wingdings" panose="05000000000000000000" pitchFamily="2" charset="2"/>
              </a:rPr>
              <a:t>Kognitive Fähigkeiten/ IQ</a:t>
            </a:r>
          </a:p>
          <a:p>
            <a:pPr marL="519750" lvl="2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400" b="0" dirty="0">
                <a:sym typeface="Wingdings" panose="05000000000000000000" pitchFamily="2" charset="2"/>
              </a:rPr>
              <a:t>Bildungszertifikaten &amp; Schulleistungen</a:t>
            </a:r>
          </a:p>
          <a:p>
            <a:pPr marL="519750" lvl="2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400" b="0" dirty="0">
                <a:sym typeface="Wingdings" panose="05000000000000000000" pitchFamily="2" charset="2"/>
              </a:rPr>
              <a:t>Persönlichkeitsmerkmalen</a:t>
            </a:r>
            <a:endParaRPr lang="de-DE" sz="1400" dirty="0">
              <a:sym typeface="Wingdings" panose="05000000000000000000" pitchFamily="2" charset="2"/>
            </a:endParaRPr>
          </a:p>
          <a:p>
            <a:pPr lvl="2" indent="0">
              <a:lnSpc>
                <a:spcPct val="100000"/>
              </a:lnSpc>
              <a:spcAft>
                <a:spcPts val="800"/>
              </a:spcAft>
              <a:buNone/>
            </a:pPr>
            <a:r>
              <a:rPr lang="de-DE" sz="1800" dirty="0">
                <a:sym typeface="Wingdings" panose="05000000000000000000" pitchFamily="2" charset="2"/>
              </a:rPr>
              <a:t> Leistung als Garant für Wohlstand</a:t>
            </a:r>
          </a:p>
          <a:p>
            <a:pPr lvl="2" indent="0">
              <a:lnSpc>
                <a:spcPct val="100000"/>
              </a:lnSpc>
              <a:spcAft>
                <a:spcPts val="800"/>
              </a:spcAft>
              <a:buNone/>
            </a:pPr>
            <a:endParaRPr lang="de-DE" sz="1800" dirty="0">
              <a:sym typeface="Wingdings" panose="05000000000000000000" pitchFamily="2" charset="2"/>
            </a:endParaRPr>
          </a:p>
          <a:p>
            <a:pPr lvl="2" indent="0">
              <a:lnSpc>
                <a:spcPct val="100000"/>
              </a:lnSpc>
              <a:spcAft>
                <a:spcPts val="800"/>
              </a:spcAft>
              <a:buNone/>
            </a:pPr>
            <a:endParaRPr lang="de-DE" sz="14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4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12204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938424" cy="468000"/>
          </a:xfrm>
        </p:spPr>
        <p:txBody>
          <a:bodyPr/>
          <a:lstStyle/>
          <a:p>
            <a:r>
              <a:rPr lang="de-DE" dirty="0"/>
              <a:t>Meritokratisches Prinzi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0515" y="695616"/>
            <a:ext cx="8659897" cy="4056384"/>
          </a:xfrm>
        </p:spPr>
        <p:txBody>
          <a:bodyPr/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Grundausgang: Bildung als </a:t>
            </a:r>
            <a:r>
              <a:rPr lang="de-DE" sz="1800" dirty="0">
                <a:sym typeface="Wingdings" panose="05000000000000000000" pitchFamily="2" charset="2"/>
              </a:rPr>
              <a:t>universell</a:t>
            </a:r>
            <a:r>
              <a:rPr lang="de-DE" sz="1800" b="0" dirty="0">
                <a:sym typeface="Wingdings" panose="05000000000000000000" pitchFamily="2" charset="2"/>
              </a:rPr>
              <a:t> zugänglich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Dann: individueller Erfolg im Bildungssystem als </a:t>
            </a:r>
            <a:r>
              <a:rPr lang="de-DE" sz="1800" dirty="0">
                <a:sym typeface="Wingdings" panose="05000000000000000000" pitchFamily="2" charset="2"/>
              </a:rPr>
              <a:t>legitime Zuteilung </a:t>
            </a:r>
            <a:r>
              <a:rPr lang="de-DE" sz="1800" b="0" dirty="0">
                <a:sym typeface="Wingdings" panose="05000000000000000000" pitchFamily="2" charset="2"/>
              </a:rPr>
              <a:t>von Lebenschance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Nur durch erworbene Merkmale (z.B. Fleiß, Anstrengung, </a:t>
            </a:r>
            <a:r>
              <a:rPr lang="de-DE" sz="1800" b="0" strike="sngStrike" dirty="0">
                <a:sym typeface="Wingdings" panose="05000000000000000000" pitchFamily="2" charset="2"/>
              </a:rPr>
              <a:t>Herkunft</a:t>
            </a:r>
            <a:r>
              <a:rPr lang="de-DE" sz="1800" b="0" dirty="0">
                <a:sym typeface="Wingdings" panose="05000000000000000000" pitchFamily="2" charset="2"/>
              </a:rPr>
              <a:t>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Drei Grundprämissen </a:t>
            </a:r>
            <a:r>
              <a:rPr lang="de-DE" sz="1800" b="0" dirty="0">
                <a:sym typeface="Wingdings" panose="05000000000000000000" pitchFamily="2" charset="2"/>
              </a:rPr>
              <a:t>meritokratischer Gesellschaft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arenR"/>
            </a:pPr>
            <a:r>
              <a:rPr lang="de-DE" sz="1800" b="0" dirty="0">
                <a:sym typeface="Wingdings" panose="05000000000000000000" pitchFamily="2" charset="2"/>
              </a:rPr>
              <a:t>Verantwortungspositionen NUR nach </a:t>
            </a:r>
            <a:r>
              <a:rPr lang="de-DE" sz="1800" dirty="0">
                <a:sym typeface="Wingdings" panose="05000000000000000000" pitchFamily="2" charset="2"/>
              </a:rPr>
              <a:t>Fähigkeiten</a:t>
            </a:r>
            <a:r>
              <a:rPr lang="de-DE" sz="1800" b="0" dirty="0">
                <a:sym typeface="Wingdings" panose="05000000000000000000" pitchFamily="2" charset="2"/>
              </a:rPr>
              <a:t> besetzen</a:t>
            </a:r>
          </a:p>
          <a:p>
            <a:pPr marL="457200" indent="-457200">
              <a:lnSpc>
                <a:spcPct val="107000"/>
              </a:lnSpc>
              <a:spcAft>
                <a:spcPts val="800"/>
              </a:spcAft>
              <a:buAutoNum type="arabicParenR"/>
            </a:pPr>
            <a:r>
              <a:rPr lang="de-DE" sz="1800" b="0" dirty="0">
                <a:sym typeface="Wingdings" panose="05000000000000000000" pitchFamily="2" charset="2"/>
              </a:rPr>
              <a:t>Bildungschancen sollen NUR von </a:t>
            </a:r>
            <a:r>
              <a:rPr lang="de-DE" sz="1800" dirty="0">
                <a:sym typeface="Wingdings" panose="05000000000000000000" pitchFamily="2" charset="2"/>
              </a:rPr>
              <a:t>natürlichen Begabungen </a:t>
            </a:r>
            <a:r>
              <a:rPr lang="de-DE" sz="1800" b="0" dirty="0">
                <a:sym typeface="Wingdings" panose="05000000000000000000" pitchFamily="2" charset="2"/>
              </a:rPr>
              <a:t>abhängen</a:t>
            </a:r>
          </a:p>
          <a:p>
            <a:pPr marL="457200" indent="-457200">
              <a:lnSpc>
                <a:spcPct val="107000"/>
              </a:lnSpc>
              <a:spcAft>
                <a:spcPts val="800"/>
              </a:spcAft>
              <a:buAutoNum type="arabicParenR"/>
            </a:pPr>
            <a:r>
              <a:rPr lang="de-DE" sz="1800" dirty="0">
                <a:sym typeface="Wingdings" panose="05000000000000000000" pitchFamily="2" charset="2"/>
              </a:rPr>
              <a:t>Leistung</a:t>
            </a:r>
            <a:r>
              <a:rPr lang="de-DE" sz="1800" b="0" dirty="0">
                <a:sym typeface="Wingdings" panose="05000000000000000000" pitchFamily="2" charset="2"/>
              </a:rPr>
              <a:t> als Kriterium sozialer Ungleichhei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Begründung: </a:t>
            </a: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Ungleichheit ist notwendig 1)                                  2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 Meritokratie als Legitimation von sozialer Ungleichhei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2400" dirty="0">
              <a:solidFill>
                <a:schemeClr val="accent2"/>
              </a:solidFill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5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29EC2D8-E5C7-7F6E-0C2C-8562608BB593}"/>
              </a:ext>
            </a:extLst>
          </p:cNvPr>
          <p:cNvSpPr/>
          <p:nvPr/>
        </p:nvSpPr>
        <p:spPr>
          <a:xfrm>
            <a:off x="4763291" y="3618134"/>
            <a:ext cx="2087960" cy="4420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Individuen zu (höheren) </a:t>
            </a:r>
          </a:p>
          <a:p>
            <a:pPr algn="ctr"/>
            <a:r>
              <a:rPr lang="de-DE" dirty="0"/>
              <a:t>Leistungen zu motivier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DC5B58D-0DEA-8E65-25D0-96944DEFD9B0}"/>
              </a:ext>
            </a:extLst>
          </p:cNvPr>
          <p:cNvSpPr/>
          <p:nvPr/>
        </p:nvSpPr>
        <p:spPr>
          <a:xfrm>
            <a:off x="7161874" y="3618134"/>
            <a:ext cx="1908623" cy="5040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Fortschritt zu initiieren</a:t>
            </a:r>
          </a:p>
          <a:p>
            <a:pPr algn="ctr"/>
            <a:r>
              <a:rPr lang="de-DE" dirty="0"/>
              <a:t>(für alle)</a:t>
            </a:r>
          </a:p>
        </p:txBody>
      </p:sp>
    </p:spTree>
    <p:extLst>
      <p:ext uri="{BB962C8B-B14F-4D97-AF65-F5344CB8AC3E}">
        <p14:creationId xmlns:p14="http://schemas.microsoft.com/office/powerpoint/2010/main" val="3404956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938424" cy="468000"/>
          </a:xfrm>
        </p:spPr>
        <p:txBody>
          <a:bodyPr/>
          <a:lstStyle/>
          <a:p>
            <a:r>
              <a:rPr lang="de-DE" dirty="0"/>
              <a:t>Historische Entwicklung: Bildungsexpans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0515" y="887268"/>
            <a:ext cx="8703485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Überblick: Entwicklung </a:t>
            </a:r>
            <a:r>
              <a:rPr lang="de-DE" sz="1800" dirty="0">
                <a:sym typeface="Wingdings" panose="05000000000000000000" pitchFamily="2" charset="2"/>
              </a:rPr>
              <a:t>alte BRD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In 1960er Forderung nach Verbesserung der </a:t>
            </a:r>
            <a:r>
              <a:rPr lang="de-DE" sz="1800" dirty="0">
                <a:sym typeface="Wingdings" panose="05000000000000000000" pitchFamily="2" charset="2"/>
              </a:rPr>
              <a:t>Bildungschancen</a:t>
            </a:r>
            <a:r>
              <a:rPr lang="de-DE" sz="1800" b="0" dirty="0">
                <a:sym typeface="Wingdings" panose="05000000000000000000" pitchFamily="2" charset="2"/>
              </a:rPr>
              <a:t> für </a:t>
            </a:r>
            <a:r>
              <a:rPr lang="de-DE" sz="1800" dirty="0">
                <a:sym typeface="Wingdings" panose="05000000000000000000" pitchFamily="2" charset="2"/>
              </a:rPr>
              <a:t>benachteiligte Gruppen </a:t>
            </a:r>
            <a:r>
              <a:rPr lang="de-DE" sz="1800" b="0" dirty="0">
                <a:sym typeface="Wingdings" panose="05000000000000000000" pitchFamily="2" charset="2"/>
              </a:rPr>
              <a:t>&amp; </a:t>
            </a:r>
            <a:r>
              <a:rPr lang="de-DE" sz="1800" dirty="0">
                <a:sym typeface="Wingdings" panose="05000000000000000000" pitchFamily="2" charset="2"/>
              </a:rPr>
              <a:t>höher qualifizierte </a:t>
            </a:r>
            <a:r>
              <a:rPr lang="de-DE" sz="1800" b="0" dirty="0">
                <a:sym typeface="Wingdings" panose="05000000000000000000" pitchFamily="2" charset="2"/>
              </a:rPr>
              <a:t>Absolventen  </a:t>
            </a:r>
            <a:r>
              <a:rPr lang="de-DE" sz="1800" dirty="0">
                <a:solidFill>
                  <a:schemeClr val="accent2"/>
                </a:solidFill>
                <a:sym typeface="Wingdings" panose="05000000000000000000" pitchFamily="2" charset="2"/>
              </a:rPr>
              <a:t>Bildungsexpansio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Ziele: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arenR"/>
            </a:pPr>
            <a:r>
              <a:rPr lang="de-DE" sz="1800" dirty="0">
                <a:sym typeface="Wingdings" panose="05000000000000000000" pitchFamily="2" charset="2"/>
              </a:rPr>
              <a:t>Abbau</a:t>
            </a:r>
            <a:r>
              <a:rPr lang="de-DE" sz="1800" b="0" dirty="0">
                <a:sym typeface="Wingdings" panose="05000000000000000000" pitchFamily="2" charset="2"/>
              </a:rPr>
              <a:t> von </a:t>
            </a:r>
            <a:r>
              <a:rPr lang="de-DE" sz="1800" dirty="0">
                <a:sym typeface="Wingdings" panose="05000000000000000000" pitchFamily="2" charset="2"/>
              </a:rPr>
              <a:t>Bildungsungleichheiten</a:t>
            </a:r>
            <a:r>
              <a:rPr lang="de-DE" sz="1800" b="0" dirty="0">
                <a:sym typeface="Wingdings" panose="05000000000000000000" pitchFamily="2" charset="2"/>
              </a:rPr>
              <a:t> durch Ausbau sekundär &amp; tertiären Bereich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arenR"/>
            </a:pPr>
            <a:r>
              <a:rPr lang="de-DE" sz="1800" b="0" dirty="0">
                <a:sym typeface="Wingdings" panose="05000000000000000000" pitchFamily="2" charset="2"/>
              </a:rPr>
              <a:t>Steigerung &amp; </a:t>
            </a:r>
            <a:r>
              <a:rPr lang="de-DE" sz="1800" dirty="0">
                <a:sym typeface="Wingdings" panose="05000000000000000000" pitchFamily="2" charset="2"/>
              </a:rPr>
              <a:t>Verlängerung</a:t>
            </a:r>
            <a:r>
              <a:rPr lang="de-DE" sz="1800" b="0" dirty="0">
                <a:sym typeface="Wingdings" panose="05000000000000000000" pitchFamily="2" charset="2"/>
              </a:rPr>
              <a:t> der </a:t>
            </a:r>
            <a:r>
              <a:rPr lang="de-DE" sz="1800" dirty="0">
                <a:sym typeface="Wingdings" panose="05000000000000000000" pitchFamily="2" charset="2"/>
              </a:rPr>
              <a:t>Bildungsbeteiligung</a:t>
            </a:r>
            <a:r>
              <a:rPr lang="de-DE" sz="1800" b="0" dirty="0">
                <a:sym typeface="Wingdings" panose="05000000000000000000" pitchFamily="2" charset="2"/>
              </a:rPr>
              <a:t> der ganzer Bevölkerung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arenR"/>
            </a:pPr>
            <a:endParaRPr lang="de-DE" sz="18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6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7821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938424" cy="468000"/>
          </a:xfrm>
        </p:spPr>
        <p:txBody>
          <a:bodyPr/>
          <a:lstStyle/>
          <a:p>
            <a:r>
              <a:rPr lang="de-DE" dirty="0"/>
              <a:t>Historische Entwicklung; Bildungsexpans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4773" y="715676"/>
            <a:ext cx="8307949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Drei Begründungen </a:t>
            </a:r>
            <a:r>
              <a:rPr lang="de-DE" sz="1800" b="0" dirty="0">
                <a:sym typeface="Wingdings" panose="05000000000000000000" pitchFamily="2" charset="2"/>
              </a:rPr>
              <a:t>für </a:t>
            </a: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Bildungsexpansion:</a:t>
            </a:r>
          </a:p>
          <a:p>
            <a:pPr marL="342900" indent="-342900">
              <a:lnSpc>
                <a:spcPct val="100000"/>
              </a:lnSpc>
              <a:spcAft>
                <a:spcPts val="800"/>
              </a:spcAft>
              <a:buAutoNum type="arabicParenR"/>
            </a:pPr>
            <a:r>
              <a:rPr lang="de-DE" sz="1800" dirty="0">
                <a:sym typeface="Wingdings" panose="05000000000000000000" pitchFamily="2" charset="2"/>
              </a:rPr>
              <a:t>Ökonomische</a:t>
            </a:r>
            <a:r>
              <a:rPr lang="de-DE" sz="1800" b="0" dirty="0">
                <a:sym typeface="Wingdings" panose="05000000000000000000" pitchFamily="2" charset="2"/>
              </a:rPr>
              <a:t> und </a:t>
            </a:r>
            <a:r>
              <a:rPr lang="de-DE" sz="1800" dirty="0">
                <a:sym typeface="Wingdings" panose="05000000000000000000" pitchFamily="2" charset="2"/>
              </a:rPr>
              <a:t>wirtschaftspolitische Befürchtungen </a:t>
            </a:r>
            <a:endParaRPr lang="de-DE" sz="1800" b="0" dirty="0">
              <a:sym typeface="Wingdings" panose="05000000000000000000" pitchFamily="2" charset="2"/>
            </a:endParaRPr>
          </a:p>
          <a:p>
            <a:pPr marL="519750" lvl="2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0" dirty="0">
                <a:sym typeface="Wingdings" panose="05000000000000000000" pitchFamily="2" charset="2"/>
              </a:rPr>
              <a:t>Angst, global abgehängt zu werden, weil nicht genug qualifizierte Arbeitskräfte</a:t>
            </a:r>
          </a:p>
          <a:p>
            <a:pPr marL="519750" lvl="2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0" dirty="0">
                <a:sym typeface="Wingdings" panose="05000000000000000000" pitchFamily="2" charset="2"/>
              </a:rPr>
              <a:t>Sputnik-Schock (Satellit der Sowjetunion ins All- technischer Fortschritt)</a:t>
            </a:r>
          </a:p>
          <a:p>
            <a:pPr marL="342900" indent="-342900">
              <a:lnSpc>
                <a:spcPct val="100000"/>
              </a:lnSpc>
              <a:spcAft>
                <a:spcPts val="800"/>
              </a:spcAft>
              <a:buAutoNum type="arabicParenR"/>
            </a:pPr>
            <a:r>
              <a:rPr lang="de-DE" sz="1800" b="0" dirty="0">
                <a:sym typeface="Wingdings" panose="05000000000000000000" pitchFamily="2" charset="2"/>
              </a:rPr>
              <a:t>Durchsetzung von </a:t>
            </a:r>
            <a:r>
              <a:rPr lang="de-DE" sz="1800" dirty="0">
                <a:sym typeface="Wingdings" panose="05000000000000000000" pitchFamily="2" charset="2"/>
              </a:rPr>
              <a:t>Chancengleichheit</a:t>
            </a:r>
          </a:p>
          <a:p>
            <a:pPr marL="519750" lvl="2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0" dirty="0">
                <a:sym typeface="Wingdings" panose="05000000000000000000" pitchFamily="2" charset="2"/>
              </a:rPr>
              <a:t>Kunstfigur: </a:t>
            </a:r>
            <a:r>
              <a:rPr lang="de-DE" sz="1600" b="0" dirty="0">
                <a:solidFill>
                  <a:schemeClr val="accent2"/>
                </a:solidFill>
                <a:sym typeface="Wingdings" panose="05000000000000000000" pitchFamily="2" charset="2"/>
              </a:rPr>
              <a:t>„Katholische Arbeitertochter vom Lande</a:t>
            </a:r>
            <a:r>
              <a:rPr lang="de-DE" sz="1600" dirty="0">
                <a:solidFill>
                  <a:schemeClr val="accent2"/>
                </a:solidFill>
                <a:sym typeface="Wingdings" panose="05000000000000000000" pitchFamily="2" charset="2"/>
              </a:rPr>
              <a:t>“ </a:t>
            </a:r>
            <a:r>
              <a:rPr lang="de-DE" sz="1600" dirty="0">
                <a:sym typeface="Wingdings" panose="05000000000000000000" pitchFamily="2" charset="2"/>
              </a:rPr>
              <a:t>–Ungleichheit zwischen Sozialschichten</a:t>
            </a:r>
          </a:p>
          <a:p>
            <a:pPr marL="519750" lvl="2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dirty="0">
                <a:sym typeface="Wingdings" panose="05000000000000000000" pitchFamily="2" charset="2"/>
              </a:rPr>
              <a:t>Bildung als „Bürgerrecht“ (Dahrendorf) &amp; Voraussetzung für (Chancen-) Gleichheit</a:t>
            </a:r>
          </a:p>
          <a:p>
            <a:pPr marL="342900" indent="-342900">
              <a:lnSpc>
                <a:spcPct val="100000"/>
              </a:lnSpc>
              <a:spcAft>
                <a:spcPts val="800"/>
              </a:spcAft>
              <a:buAutoNum type="arabicParenR"/>
            </a:pPr>
            <a:r>
              <a:rPr lang="de-DE" sz="1800" dirty="0">
                <a:sym typeface="Wingdings" panose="05000000000000000000" pitchFamily="2" charset="2"/>
              </a:rPr>
              <a:t>Bevölkerungsentwicklung</a:t>
            </a:r>
            <a:r>
              <a:rPr lang="de-DE" sz="1800" b="0" dirty="0">
                <a:sym typeface="Wingdings" panose="05000000000000000000" pitchFamily="2" charset="2"/>
              </a:rPr>
              <a:t> </a:t>
            </a:r>
          </a:p>
          <a:p>
            <a:pPr marL="519750" lvl="2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0" dirty="0">
                <a:sym typeface="Wingdings" panose="05000000000000000000" pitchFamily="2" charset="2"/>
              </a:rPr>
              <a:t>Demografischer Wandel mit sinkenden Geburtenziffern</a:t>
            </a:r>
          </a:p>
          <a:p>
            <a:pPr marL="519750" lvl="2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dirty="0">
                <a:sym typeface="Wingdings" panose="05000000000000000000" pitchFamily="2" charset="2"/>
              </a:rPr>
              <a:t>W</a:t>
            </a:r>
            <a:r>
              <a:rPr lang="de-DE" sz="1600" b="0" dirty="0">
                <a:sym typeface="Wingdings" panose="05000000000000000000" pitchFamily="2" charset="2"/>
              </a:rPr>
              <a:t>eniger Quantität (Masse an Arbeitern) mehr Qualität notwendig (‚bessere‘ Bildung)</a:t>
            </a: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ym typeface="Wingdings" panose="05000000000000000000" pitchFamily="2" charset="2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arenR"/>
            </a:pPr>
            <a:endParaRPr lang="de-DE" sz="18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7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4265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938424" cy="468000"/>
          </a:xfrm>
        </p:spPr>
        <p:txBody>
          <a:bodyPr/>
          <a:lstStyle/>
          <a:p>
            <a:r>
              <a:rPr lang="de-DE" dirty="0"/>
              <a:t>Historische Entwicklung: Bildungsexpans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4773" y="543558"/>
            <a:ext cx="8307949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Folgen </a:t>
            </a: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Bildungsexpansion: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Immer mehr mittlere &amp; höhere Bildungsabschlüsse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Längeres Verweilen im Bildungssystem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Aufschwung des Gymnasiums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à"/>
            </a:pPr>
            <a:r>
              <a:rPr lang="de-DE" sz="1800" b="0" dirty="0">
                <a:sym typeface="Wingdings" panose="05000000000000000000" pitchFamily="2" charset="2"/>
              </a:rPr>
              <a:t>Kontinuierliche </a:t>
            </a:r>
            <a:r>
              <a:rPr lang="de-DE" sz="1800" dirty="0">
                <a:sym typeface="Wingdings" panose="05000000000000000000" pitchFamily="2" charset="2"/>
              </a:rPr>
              <a:t>Höherqualifizierung der Bevölkerung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‚Umschichtung‘ nach obe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Bildung fördert den </a:t>
            </a:r>
            <a:r>
              <a:rPr lang="de-DE" sz="1800" dirty="0">
                <a:sym typeface="Wingdings" panose="05000000000000000000" pitchFamily="2" charset="2"/>
              </a:rPr>
              <a:t>Wachstum von Wirtschaft und Wohlstand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Wertewandel durch Bildung hin zu postmateriellen Werten</a:t>
            </a:r>
            <a:r>
              <a:rPr lang="de-DE" sz="1600" b="0" dirty="0">
                <a:sym typeface="Wingdings" panose="05000000000000000000" pitchFamily="2" charset="2"/>
              </a:rPr>
              <a:t> (z.B. Gleichheit, Gesundheit, Emanzipation, Autonomie etc.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>
                <a:sym typeface="Wingdings" panose="05000000000000000000" pitchFamily="2" charset="2"/>
              </a:rPr>
              <a:t>ABER</a:t>
            </a:r>
            <a:r>
              <a:rPr lang="de-DE" sz="1800" b="0" dirty="0">
                <a:sym typeface="Wingdings" panose="05000000000000000000" pitchFamily="2" charset="2"/>
              </a:rPr>
              <a:t>: </a:t>
            </a:r>
            <a:r>
              <a:rPr lang="de-DE" sz="1800" dirty="0">
                <a:sym typeface="Wingdings" panose="05000000000000000000" pitchFamily="2" charset="2"/>
              </a:rPr>
              <a:t>Chancenungleichheit</a:t>
            </a:r>
            <a:r>
              <a:rPr lang="de-DE" sz="1800" b="0" dirty="0">
                <a:sym typeface="Wingdings" panose="05000000000000000000" pitchFamily="2" charset="2"/>
              </a:rPr>
              <a:t> </a:t>
            </a:r>
            <a:r>
              <a:rPr lang="de-DE" sz="1400" b="0" dirty="0">
                <a:sym typeface="Wingdings" panose="05000000000000000000" pitchFamily="2" charset="2"/>
              </a:rPr>
              <a:t>(Privilegierte vs. Benachteiligte) </a:t>
            </a:r>
            <a:r>
              <a:rPr lang="de-DE" sz="1800" b="0" dirty="0">
                <a:sym typeface="Wingdings" panose="05000000000000000000" pitchFamily="2" charset="2"/>
              </a:rPr>
              <a:t>trotz Bildungsreformen </a:t>
            </a:r>
            <a:r>
              <a:rPr lang="de-DE" sz="1800" dirty="0">
                <a:sym typeface="Wingdings" panose="05000000000000000000" pitchFamily="2" charset="2"/>
              </a:rPr>
              <a:t>vergrößer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8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28507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67826"/>
            <a:ext cx="7938424" cy="468000"/>
          </a:xfrm>
        </p:spPr>
        <p:txBody>
          <a:bodyPr/>
          <a:lstStyle/>
          <a:p>
            <a:r>
              <a:rPr lang="de-DE" dirty="0"/>
              <a:t>Bildungsexpansion in Da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1" y="715676"/>
            <a:ext cx="8332722" cy="405638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Schulbesuch nach Schularten</a:t>
            </a: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ym typeface="Wingdings" panose="05000000000000000000" pitchFamily="2" charset="2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arenR"/>
            </a:pPr>
            <a:endParaRPr lang="de-DE" sz="18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9</a:t>
            </a:fld>
            <a:r>
              <a:rPr lang="de-DE"/>
              <a:t> 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E0FE579-FA3B-A0FB-1591-E9F4B4FCDA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000" y="1059582"/>
            <a:ext cx="5148128" cy="3229186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2BD75150-C03B-C93B-B5FC-C9B7401E02D4}"/>
              </a:ext>
            </a:extLst>
          </p:cNvPr>
          <p:cNvSpPr txBox="1"/>
          <p:nvPr/>
        </p:nvSpPr>
        <p:spPr>
          <a:xfrm>
            <a:off x="5598128" y="1022182"/>
            <a:ext cx="3545871" cy="3347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dirty="0">
                <a:solidFill>
                  <a:schemeClr val="tx2"/>
                </a:solidFill>
              </a:rPr>
              <a:t>Trends zu 1952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Große Mehrheit hat Volksschulen besucht (79%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Gymnasium als </a:t>
            </a:r>
            <a:r>
              <a:rPr lang="de-DE" sz="1800" b="1" dirty="0">
                <a:solidFill>
                  <a:schemeClr val="tx2"/>
                </a:solidFill>
              </a:rPr>
              <a:t>absolute</a:t>
            </a:r>
            <a:r>
              <a:rPr lang="de-DE" sz="1800" dirty="0">
                <a:solidFill>
                  <a:schemeClr val="tx2"/>
                </a:solidFill>
              </a:rPr>
              <a:t> </a:t>
            </a:r>
            <a:r>
              <a:rPr lang="de-DE" sz="1800" b="1" dirty="0">
                <a:solidFill>
                  <a:schemeClr val="tx2"/>
                </a:solidFill>
              </a:rPr>
              <a:t>Ausnahme</a:t>
            </a:r>
            <a:r>
              <a:rPr lang="de-DE" sz="1800" dirty="0">
                <a:solidFill>
                  <a:schemeClr val="tx2"/>
                </a:solidFill>
              </a:rPr>
              <a:t> (13%)</a:t>
            </a:r>
          </a:p>
          <a:p>
            <a:endParaRPr lang="de-DE" sz="1800" dirty="0">
              <a:solidFill>
                <a:schemeClr val="tx2"/>
              </a:solidFill>
            </a:endParaRPr>
          </a:p>
          <a:p>
            <a:r>
              <a:rPr lang="de-DE" sz="1800" dirty="0">
                <a:solidFill>
                  <a:schemeClr val="tx2"/>
                </a:solidFill>
              </a:rPr>
              <a:t>Zu 2012: massiver Wan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Hauptschulen nur noch als Ausnahme (15%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Gymnasien fast verdreifacht haben (mit 37%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3210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dcae5b4-0b45-41e0-b5e6-32c713f6a487"/>
  <p:tag name="MIO_EKGUID" val="d6d8f022-aea9-4976-9c74-231287008c88"/>
  <p:tag name="MIO_UPDATE" val="True"/>
  <p:tag name="MIO_VERSION" val="26.10.2018 15:45:09"/>
  <p:tag name="MIO_DBID" val="364BA404-45B5-45E1-875B-889C83467CBF"/>
  <p:tag name="MIO_LASTDOWNLOADED" val="26.10.2018 15:45:09"/>
  <p:tag name="MIO_OBJECTNAME" val="ADAPTION – Migration zum Cyber-physischen PRODUKTIONSSYSTEM"/>
  <p:tag name="MIO_LASTEDITORNAME" val="Stefan Leineweber"/>
  <p:tag name="MIO_STRING_IGNORE_CHECKSUM_FOR_NEXT_SAV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theme1.xml><?xml version="1.0" encoding="utf-8"?>
<a:theme xmlns:a="http://schemas.openxmlformats.org/drawingml/2006/main" name="PowerPoint Master RUB">
  <a:themeElements>
    <a:clrScheme name="RUB">
      <a:dk1>
        <a:sysClr val="windowText" lastClr="000000"/>
      </a:dk1>
      <a:lt1>
        <a:sysClr val="window" lastClr="FFFFFF"/>
      </a:lt1>
      <a:dk2>
        <a:srgbClr val="003560"/>
      </a:dk2>
      <a:lt2>
        <a:srgbClr val="8DAE10"/>
      </a:lt2>
      <a:accent1>
        <a:srgbClr val="FFCC00"/>
      </a:accent1>
      <a:accent2>
        <a:srgbClr val="EE7203"/>
      </a:accent2>
      <a:accent3>
        <a:srgbClr val="E6332A"/>
      </a:accent3>
      <a:accent4>
        <a:srgbClr val="B71E3F"/>
      </a:accent4>
      <a:accent5>
        <a:srgbClr val="9C5516"/>
      </a:accent5>
      <a:accent6>
        <a:srgbClr val="59211C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RUB_03a.potx" id="{C867D821-36E8-4CDA-B68D-4949E463F39D}" vid="{F84F8B3F-9528-42A9-B5AE-3004D541450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61</Words>
  <Application>Microsoft Office PowerPoint</Application>
  <PresentationFormat>Bildschirmpräsentation (16:9)</PresentationFormat>
  <Paragraphs>269</Paragraphs>
  <Slides>20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5" baseType="lpstr">
      <vt:lpstr>Arial</vt:lpstr>
      <vt:lpstr>Calibri</vt:lpstr>
      <vt:lpstr>Calibri-Bold</vt:lpstr>
      <vt:lpstr>Wingdings</vt:lpstr>
      <vt:lpstr>PowerPoint Master RUB</vt:lpstr>
      <vt:lpstr>Tutorium zur VL. Sitzung (Teil 16) </vt:lpstr>
      <vt:lpstr>Bildung: Definition</vt:lpstr>
      <vt:lpstr>Bildung: Funktionen für moderne Gesellschaft</vt:lpstr>
      <vt:lpstr>Meritokratisches Prinzip</vt:lpstr>
      <vt:lpstr>Meritokratisches Prinzip</vt:lpstr>
      <vt:lpstr>Historische Entwicklung: Bildungsexpansion</vt:lpstr>
      <vt:lpstr>Historische Entwicklung; Bildungsexpansion</vt:lpstr>
      <vt:lpstr>Historische Entwicklung: Bildungsexpansion</vt:lpstr>
      <vt:lpstr>Bildungsexpansion in Daten</vt:lpstr>
      <vt:lpstr>Struktur des Bildungssystems:</vt:lpstr>
      <vt:lpstr> Bildungsungleichheiten im vereinten DE:</vt:lpstr>
      <vt:lpstr> Bildungsungleichheiten im vereinten DE:</vt:lpstr>
      <vt:lpstr> Bildungsungleichheiten im vereinten DE:</vt:lpstr>
      <vt:lpstr> Bildungsungleichheiten im vereinten DE:</vt:lpstr>
      <vt:lpstr> Bildungsungleichheiten: Theorie Boudon</vt:lpstr>
      <vt:lpstr>Chancenungleichheit: </vt:lpstr>
      <vt:lpstr> Bildungsungleichheiten: Theorie Boudon</vt:lpstr>
      <vt:lpstr>Lernziele: zwölfte Sitzung </vt:lpstr>
      <vt:lpstr>Ausblick: nächste Sitzung </vt:lpstr>
      <vt:lpstr>Struktur des Bildungssystems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Sozialwissenschaft</dc:title>
  <dc:creator>vanessa rau</dc:creator>
  <cp:lastModifiedBy>Stina Ru</cp:lastModifiedBy>
  <cp:revision>72</cp:revision>
  <cp:lastPrinted>2022-05-08T18:17:36Z</cp:lastPrinted>
  <dcterms:created xsi:type="dcterms:W3CDTF">2020-06-22T16:14:58Z</dcterms:created>
  <dcterms:modified xsi:type="dcterms:W3CDTF">2023-01-20T07:19:03Z</dcterms:modified>
</cp:coreProperties>
</file>